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868" r:id="rId1"/>
  </p:sldMasterIdLst>
  <p:notesMasterIdLst>
    <p:notesMasterId r:id="rId24"/>
  </p:notesMasterIdLst>
  <p:handoutMasterIdLst>
    <p:handoutMasterId r:id="rId25"/>
  </p:handoutMasterIdLst>
  <p:sldIdLst>
    <p:sldId id="351" r:id="rId2"/>
    <p:sldId id="389" r:id="rId3"/>
    <p:sldId id="354" r:id="rId4"/>
    <p:sldId id="378" r:id="rId5"/>
    <p:sldId id="392" r:id="rId6"/>
    <p:sldId id="358" r:id="rId7"/>
    <p:sldId id="355" r:id="rId8"/>
    <p:sldId id="385" r:id="rId9"/>
    <p:sldId id="386" r:id="rId10"/>
    <p:sldId id="388" r:id="rId11"/>
    <p:sldId id="359" r:id="rId12"/>
    <p:sldId id="360" r:id="rId13"/>
    <p:sldId id="361" r:id="rId14"/>
    <p:sldId id="380" r:id="rId15"/>
    <p:sldId id="379" r:id="rId16"/>
    <p:sldId id="381" r:id="rId17"/>
    <p:sldId id="390" r:id="rId18"/>
    <p:sldId id="391" r:id="rId19"/>
    <p:sldId id="369" r:id="rId20"/>
    <p:sldId id="368" r:id="rId21"/>
    <p:sldId id="377" r:id="rId22"/>
    <p:sldId id="350" r:id="rId23"/>
  </p:sldIdLst>
  <p:sldSz cx="9215438" cy="5184775"/>
  <p:notesSz cx="6805613" cy="9939338"/>
  <p:custDataLst>
    <p:tags r:id="rId26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VR / AR" id="{890B89A9-500E-42F1-BA5C-88A684DAC9E2}">
          <p14:sldIdLst>
            <p14:sldId id="351"/>
            <p14:sldId id="389"/>
            <p14:sldId id="354"/>
            <p14:sldId id="378"/>
            <p14:sldId id="392"/>
            <p14:sldId id="358"/>
            <p14:sldId id="355"/>
            <p14:sldId id="385"/>
            <p14:sldId id="386"/>
            <p14:sldId id="388"/>
            <p14:sldId id="359"/>
            <p14:sldId id="360"/>
            <p14:sldId id="361"/>
            <p14:sldId id="380"/>
            <p14:sldId id="379"/>
            <p14:sldId id="381"/>
            <p14:sldId id="390"/>
            <p14:sldId id="391"/>
            <p14:sldId id="369"/>
            <p14:sldId id="368"/>
            <p14:sldId id="377"/>
            <p14:sldId id="350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54" userDrawn="1">
          <p15:clr>
            <a:srgbClr val="A4A3A4"/>
          </p15:clr>
        </p15:guide>
        <p15:guide id="39" pos="5442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13" userDrawn="1">
          <p15:clr>
            <a:srgbClr val="A4A3A4"/>
          </p15:clr>
        </p15:guide>
        <p15:guide id="54" orient="horz" pos="361" userDrawn="1">
          <p15:clr>
            <a:srgbClr val="A4A3A4"/>
          </p15:clr>
        </p15:guide>
        <p15:guide id="55" orient="horz" pos="726">
          <p15:clr>
            <a:srgbClr val="A4A3A4"/>
          </p15:clr>
        </p15:guide>
        <p15:guide id="56" orient="horz" pos="1081" userDrawn="1">
          <p15:clr>
            <a:srgbClr val="A4A3A4"/>
          </p15:clr>
        </p15:guide>
        <p15:guide id="58" orient="horz" pos="2177">
          <p15:clr>
            <a:srgbClr val="A4A3A4"/>
          </p15:clr>
        </p15:guide>
        <p15:guide id="60" orient="horz" pos="2353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903">
          <p15:clr>
            <a:srgbClr val="A4A3A4"/>
          </p15:clr>
        </p15:guide>
        <p15:guide id="63" orient="horz" pos="182">
          <p15:clr>
            <a:srgbClr val="A4A3A4"/>
          </p15:clr>
        </p15:guide>
        <p15:guide id="64" orient="horz" pos="1633">
          <p15:clr>
            <a:srgbClr val="A4A3A4"/>
          </p15:clr>
        </p15:guide>
        <p15:guide id="65" orient="horz" pos="529" userDrawn="1">
          <p15:clr>
            <a:srgbClr val="A4A3A4"/>
          </p15:clr>
        </p15:guide>
        <p15:guide id="66" orient="horz" pos="1273" userDrawn="1">
          <p15:clr>
            <a:srgbClr val="A4A3A4"/>
          </p15:clr>
        </p15:guide>
        <p15:guide id="67" orient="horz" pos="1441" userDrawn="1">
          <p15:clr>
            <a:srgbClr val="A4A3A4"/>
          </p15:clr>
        </p15:guide>
        <p15:guide id="71" pos="3455" userDrawn="1">
          <p15:clr>
            <a:srgbClr val="A4A3A4"/>
          </p15:clr>
        </p15:guide>
        <p15:guide id="72" pos="4535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>
          <p15:clr>
            <a:srgbClr val="A4A3A4"/>
          </p15:clr>
        </p15:guide>
        <p15:guide id="79" pos="1655" userDrawn="1">
          <p15:clr>
            <a:srgbClr val="A4A3A4"/>
          </p15:clr>
        </p15:guide>
        <p15:guide id="82" pos="2351" userDrawn="1">
          <p15:clr>
            <a:srgbClr val="A4A3A4"/>
          </p15:clr>
        </p15:guide>
        <p15:guide id="83" pos="3084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72">
          <p15:clr>
            <a:srgbClr val="A4A3A4"/>
          </p15:clr>
        </p15:guide>
        <p15:guide id="90" pos="4898">
          <p15:clr>
            <a:srgbClr val="A4A3A4"/>
          </p15:clr>
        </p15:guide>
        <p15:guide id="91" pos="5079">
          <p15:clr>
            <a:srgbClr val="A4A3A4"/>
          </p15:clr>
        </p15:guide>
        <p15:guide id="93" pos="2543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2015" userDrawn="1">
          <p15:clr>
            <a:srgbClr val="A4A3A4"/>
          </p15:clr>
        </p15:guide>
        <p15:guide id="101" pos="2735" userDrawn="1">
          <p15:clr>
            <a:srgbClr val="A4A3A4"/>
          </p15:clr>
        </p15:guide>
        <p15:guide id="103" pos="1814" userDrawn="1">
          <p15:clr>
            <a:srgbClr val="A4A3A4"/>
          </p15:clr>
        </p15:guide>
        <p15:guide id="104" orient="horz" pos="3085">
          <p15:clr>
            <a:srgbClr val="A4A3A4"/>
          </p15:clr>
        </p15:guide>
        <p15:guide id="105" pos="1463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6">
          <p15:clr>
            <a:srgbClr val="A4A3A4"/>
          </p15:clr>
        </p15:guide>
        <p15:guide id="113" pos="1269">
          <p15:clr>
            <a:srgbClr val="A4A3A4"/>
          </p15:clr>
        </p15:guide>
        <p15:guide id="114" pos="544">
          <p15:clr>
            <a:srgbClr val="A4A3A4"/>
          </p15:clr>
        </p15:guide>
        <p15:guide id="115" pos="2539">
          <p15:clr>
            <a:srgbClr val="A4A3A4"/>
          </p15:clr>
        </p15:guide>
        <p15:guide id="116" pos="18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F14"/>
    <a:srgbClr val="FF9300"/>
    <a:srgbClr val="2DD7C3"/>
    <a:srgbClr val="E10098"/>
    <a:srgbClr val="E10000"/>
    <a:srgbClr val="898888"/>
    <a:srgbClr val="8B8A8A"/>
    <a:srgbClr val="FF5050"/>
    <a:srgbClr val="FFC000"/>
    <a:srgbClr val="FF3B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79" autoAdjust="0"/>
    <p:restoredTop sz="93568" autoAdjust="0"/>
  </p:normalViewPr>
  <p:slideViewPr>
    <p:cSldViewPr snapToGrid="0" snapToObjects="1" showGuides="1">
      <p:cViewPr varScale="1">
        <p:scale>
          <a:sx n="176" d="100"/>
          <a:sy n="176" d="100"/>
        </p:scale>
        <p:origin x="776" y="176"/>
      </p:cViewPr>
      <p:guideLst>
        <p:guide orient="horz" pos="1996"/>
        <p:guide orient="horz" pos="1814"/>
        <p:guide orient="horz" pos="2540"/>
        <p:guide pos="3628"/>
        <p:guide pos="4354"/>
        <p:guide pos="5442"/>
        <p:guide pos="181"/>
        <p:guide orient="horz" pos="913"/>
        <p:guide orient="horz" pos="361"/>
        <p:guide orient="horz" pos="726"/>
        <p:guide orient="horz" pos="1081"/>
        <p:guide orient="horz" pos="2177"/>
        <p:guide orient="horz" pos="2353"/>
        <p:guide orient="horz" pos="2722"/>
        <p:guide orient="horz" pos="2903"/>
        <p:guide orient="horz" pos="182"/>
        <p:guide orient="horz" pos="1633"/>
        <p:guide orient="horz" pos="529"/>
        <p:guide orient="horz" pos="1273"/>
        <p:guide orient="horz" pos="1441"/>
        <p:guide pos="3455"/>
        <p:guide pos="4535"/>
        <p:guide pos="4717"/>
        <p:guide pos="725"/>
        <p:guide pos="1655"/>
        <p:guide pos="2351"/>
        <p:guide pos="3084"/>
        <p:guide pos="3265"/>
        <p:guide pos="3991"/>
        <p:guide pos="4172"/>
        <p:guide pos="4898"/>
        <p:guide pos="5079"/>
        <p:guide pos="2543"/>
        <p:guide pos="5260"/>
        <p:guide pos="5624"/>
        <p:guide pos="1088"/>
        <p:guide pos="2015"/>
        <p:guide pos="2735"/>
        <p:guide pos="1814"/>
        <p:guide orient="horz" pos="3085"/>
        <p:guide pos="1463"/>
        <p:guide pos="3810"/>
        <p:guide pos="2902"/>
        <p:guide pos="2177"/>
        <p:guide orient="horz" pos="3084"/>
        <p:guide pos="362"/>
        <p:guide pos="906"/>
        <p:guide pos="1269"/>
        <p:guide pos="544"/>
        <p:guide pos="2539"/>
        <p:guide pos="18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7672" y="20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798212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Char char="-"/>
              <a:tabLst/>
              <a:defRPr/>
            </a:pPr>
            <a:r>
              <a:rPr lang="en-US" sz="1000" dirty="0"/>
              <a:t>it’s the core functionality of AR</a:t>
            </a:r>
          </a:p>
          <a:p>
            <a:pPr marL="171450" marR="0" lvl="0" indent="-17145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Char char="-"/>
              <a:tabLst/>
              <a:defRPr/>
            </a:pPr>
            <a:r>
              <a:rPr lang="en-US" sz="1000" dirty="0"/>
              <a:t>It’s the ability to track your device in real-time</a:t>
            </a:r>
          </a:p>
          <a:p>
            <a:pPr marL="171450" marR="0" lvl="0" indent="-17145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Char char="-"/>
              <a:tabLst/>
              <a:defRPr/>
            </a:pPr>
            <a:r>
              <a:rPr lang="en-US" sz="1000" dirty="0"/>
              <a:t>World tracking give the device relative position in a physical world using visual inertial odometr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681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’s the ability to determine the properties of the environment around your device</a:t>
            </a:r>
          </a:p>
          <a:p>
            <a:r>
              <a:rPr lang="en-US" dirty="0"/>
              <a:t>Plane detection is the ability to detect surfaces or planes in a physical environment</a:t>
            </a:r>
          </a:p>
          <a:p>
            <a:r>
              <a:rPr lang="en-US" dirty="0"/>
              <a:t>Hit testing to place objects</a:t>
            </a:r>
          </a:p>
          <a:p>
            <a:r>
              <a:rPr lang="en-US" dirty="0"/>
              <a:t>Light estimation to correct light your virtual geometry to match that of the physical world</a:t>
            </a:r>
          </a:p>
        </p:txBody>
      </p:sp>
    </p:spTree>
    <p:extLst>
      <p:ext uri="{BB962C8B-B14F-4D97-AF65-F5344CB8AC3E}">
        <p14:creationId xmlns:p14="http://schemas.microsoft.com/office/powerpoint/2010/main" val="2347060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egration into any render providing camera images, tracking information and scene understanding </a:t>
            </a:r>
          </a:p>
        </p:txBody>
      </p:sp>
    </p:spTree>
    <p:extLst>
      <p:ext uri="{BB962C8B-B14F-4D97-AF65-F5344CB8AC3E}">
        <p14:creationId xmlns:p14="http://schemas.microsoft.com/office/powerpoint/2010/main" val="83862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High requirements </a:t>
            </a:r>
          </a:p>
        </p:txBody>
      </p:sp>
    </p:spTree>
    <p:extLst>
      <p:ext uri="{BB962C8B-B14F-4D97-AF65-F5344CB8AC3E}">
        <p14:creationId xmlns:p14="http://schemas.microsoft.com/office/powerpoint/2010/main" val="701871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High requirements </a:t>
            </a:r>
          </a:p>
        </p:txBody>
      </p:sp>
    </p:spTree>
    <p:extLst>
      <p:ext uri="{BB962C8B-B14F-4D97-AF65-F5344CB8AC3E}">
        <p14:creationId xmlns:p14="http://schemas.microsoft.com/office/powerpoint/2010/main" val="2734045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96A0385C-55F1-42FD-838B-E69DD41AD6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BC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362341" y="849729"/>
            <a:ext cx="5043654" cy="2629890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1" tIns="73121" rIns="73121" bIns="731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11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01" y="1601"/>
          <a:ext cx="1599" cy="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1"/>
                        <a:ext cx="1599" cy="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4239" y="1921804"/>
            <a:ext cx="4680330" cy="1070479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tabLst/>
              <a:defRPr lang="en-US" sz="4800" b="0" i="0" kern="1200" cap="all" noProof="0" dirty="0">
                <a:solidFill>
                  <a:schemeClr val="bg1"/>
                </a:solidFill>
                <a:latin typeface="adineue PRO Black" pitchFamily="34" charset="0"/>
                <a:ea typeface="+mj-ea"/>
                <a:cs typeface="+mj-cs"/>
              </a:defRPr>
            </a:lvl1pPr>
            <a:lvl2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37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4239" y="2992234"/>
            <a:ext cx="4680330" cy="276999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14"/>
              </a:spcAft>
              <a:buNone/>
              <a:defRPr lang="en-US" sz="1800" b="0" i="0" kern="1200" cap="all" spc="0" baseline="0" noProof="0" dirty="0">
                <a:solidFill>
                  <a:schemeClr val="bg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None/>
              <a:defRPr sz="2419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90000"/>
              <a:buFont typeface="AdihausDIN" pitchFamily="34" charset="0"/>
              <a:buNone/>
            </a:pPr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931" y="2291457"/>
            <a:ext cx="2176424" cy="601861"/>
          </a:xfrm>
          <a:prstGeom prst="rect">
            <a:avLst/>
          </a:prstGeom>
        </p:spPr>
      </p:pic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17ACB89-2821-41D6-9601-746D498A74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4402740"/>
            <a:ext cx="5076825" cy="200483"/>
          </a:xfrm>
        </p:spPr>
        <p:txBody>
          <a:bodyPr/>
          <a:lstStyle>
            <a:lvl1pPr>
              <a:defRPr>
                <a:solidFill>
                  <a:srgbClr val="8B8A8A"/>
                </a:solidFill>
              </a:defRPr>
            </a:lvl1pPr>
          </a:lstStyle>
          <a:p>
            <a:pPr lvl="0"/>
            <a:r>
              <a:rPr lang="en-US" dirty="0"/>
              <a:t>#DBC | Department, Month 2018</a:t>
            </a:r>
          </a:p>
        </p:txBody>
      </p:sp>
    </p:spTree>
    <p:extLst>
      <p:ext uri="{BB962C8B-B14F-4D97-AF65-F5344CB8AC3E}">
        <p14:creationId xmlns:p14="http://schemas.microsoft.com/office/powerpoint/2010/main" val="269253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A8F77ECB-E1B8-4F74-960F-4A0C6367E1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EEB14684-9455-483B-9D04-B6B66796E6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Slide Number Placeholder 2">
            <a:extLst>
              <a:ext uri="{FF2B5EF4-FFF2-40B4-BE49-F238E27FC236}">
                <a16:creationId xmlns:a16="http://schemas.microsoft.com/office/drawing/2014/main" id="{5E6F67FF-0851-43C9-9ECF-925764A4BA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775F47B9-1DF6-4CC5-8398-F01A4C2C16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BC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9A22BCAB-54DC-4FFE-B03E-457403B601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44239" y="2992234"/>
            <a:ext cx="4680330" cy="276999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14"/>
              </a:spcAft>
              <a:buNone/>
              <a:defRPr lang="en-US" sz="1800" b="0" i="0" kern="1200" cap="all" spc="0" baseline="0" noProof="0" dirty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None/>
              <a:defRPr sz="2419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Font typeface="AdihausDIN" panose="020B0604020202020204" pitchFamily="34" charset="0"/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14"/>
              </a:spcAft>
              <a:buNone/>
              <a:defRPr sz="2419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90000"/>
              <a:buFont typeface="AdihausDIN" pitchFamily="34" charset="0"/>
              <a:buNone/>
            </a:pPr>
            <a:r>
              <a:rPr lang="en-US" noProof="0" dirty="0"/>
              <a:t>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27A615-95CC-44EF-A7BD-6F72B886EB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931" y="2291457"/>
            <a:ext cx="2176424" cy="601861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9D522C7-485F-48B5-83F1-B96002C606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4402740"/>
            <a:ext cx="5076825" cy="200483"/>
          </a:xfrm>
        </p:spPr>
        <p:txBody>
          <a:bodyPr/>
          <a:lstStyle>
            <a:lvl1pPr>
              <a:defRPr>
                <a:solidFill>
                  <a:srgbClr val="898888"/>
                </a:solidFill>
              </a:defRPr>
            </a:lvl1pPr>
          </a:lstStyle>
          <a:p>
            <a:pPr lvl="0"/>
            <a:r>
              <a:rPr lang="en-US" dirty="0"/>
              <a:t>#DBC | Department, Month 2018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AEE35E-4ACF-42E1-99D0-463D71BCA9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4239" y="1637966"/>
            <a:ext cx="4680330" cy="1344612"/>
          </a:xfrm>
        </p:spPr>
        <p:txBody>
          <a:bodyPr/>
          <a:lstStyle>
            <a:lvl1pPr>
              <a:defRPr sz="4400"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60137394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7D55C1-956D-4B0D-969A-2BA3CA1F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2633724-7A65-469F-BCFB-EC0231EB8AC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400" b="0" i="0" kern="1200" cap="all">
                <a:solidFill>
                  <a:schemeClr val="tx1"/>
                </a:solidFill>
                <a:latin typeface="adineue TEXT Black" panose="020B0A030202010600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algn="ctr" defTabSz="914400"/>
            <a:r>
              <a:rPr lang="en-US" sz="3600" dirty="0"/>
              <a:t>agenda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76C6C5B-8132-48AE-A874-A2103E473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72" y="843757"/>
            <a:ext cx="4366828" cy="3455988"/>
          </a:xfrm>
        </p:spPr>
        <p:txBody>
          <a:bodyPr anchor="ctr"/>
          <a:lstStyle>
            <a:lvl1pPr marL="342900" indent="-34290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2DD7C3"/>
              </a:buClr>
              <a:buSzPct val="90000"/>
              <a:buFont typeface="+mj-lt"/>
              <a:buAutoNum type="arabicPeriod"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 lang="en-US" sz="1800" b="0" i="0" kern="1200" cap="all" baseline="0" dirty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r>
              <a:rPr lang="en-US" dirty="0"/>
              <a:t>lorem</a:t>
            </a:r>
          </a:p>
          <a:p>
            <a:r>
              <a:rPr lang="en-US" dirty="0"/>
              <a:t>Ipsum</a:t>
            </a:r>
          </a:p>
          <a:p>
            <a:r>
              <a:rPr lang="en-US" dirty="0"/>
              <a:t>dolo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4AF9E9-4AE3-4A90-A716-E18C33423337}"/>
              </a:ext>
            </a:extLst>
          </p:cNvPr>
          <p:cNvSpPr/>
          <p:nvPr userDrawn="1"/>
        </p:nvSpPr>
        <p:spPr bwMode="gray">
          <a:xfrm>
            <a:off x="3725099" y="843757"/>
            <a:ext cx="48467" cy="3456782"/>
          </a:xfrm>
          <a:prstGeom prst="rect">
            <a:avLst/>
          </a:prstGeom>
          <a:solidFill>
            <a:srgbClr val="2DD7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822322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E139D9-B684-4615-966E-78857335AE15}"/>
              </a:ext>
            </a:extLst>
          </p:cNvPr>
          <p:cNvSpPr/>
          <p:nvPr userDrawn="1"/>
        </p:nvSpPr>
        <p:spPr bwMode="gray">
          <a:xfrm>
            <a:off x="575468" y="576263"/>
            <a:ext cx="8064501" cy="4032250"/>
          </a:xfrm>
          <a:prstGeom prst="rect">
            <a:avLst/>
          </a:prstGeom>
          <a:solidFill>
            <a:srgbClr val="2DD7C3">
              <a:alpha val="60000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EA988DD1-8851-4150-9B27-9581B7F16A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C619428F-F8A3-4EFE-9076-7742EAF98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BBF1-1ECB-4F52-B6AC-F5C2765D18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8CFF43A-5497-4D1B-8FBC-5DCB296CE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842963"/>
            <a:ext cx="2190687" cy="3457575"/>
          </a:xfrm>
        </p:spPr>
        <p:txBody>
          <a:bodyPr anchor="ctr"/>
          <a:lstStyle>
            <a:lvl1pPr algn="r">
              <a:defRPr sz="4800" b="1"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C980BDD-B7E3-4F37-9FF5-907DD67BE0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7564" y="842963"/>
            <a:ext cx="5041611" cy="3457575"/>
          </a:xfrm>
        </p:spPr>
        <p:txBody>
          <a:bodyPr anchor="ctr"/>
          <a:lstStyle>
            <a:lvl1pPr marL="0" indent="0">
              <a:buClr>
                <a:srgbClr val="2DD7C3"/>
              </a:buClr>
              <a:buFont typeface="Arial" panose="020B0604020202020204" pitchFamily="34" charset="0"/>
              <a:buNone/>
              <a:defRPr sz="4400">
                <a:latin typeface="adineue TEXT Light" panose="020B03030202010600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4B9BB9-360F-43FB-A848-869712769E82}"/>
              </a:ext>
            </a:extLst>
          </p:cNvPr>
          <p:cNvSpPr/>
          <p:nvPr userDrawn="1"/>
        </p:nvSpPr>
        <p:spPr bwMode="gray">
          <a:xfrm>
            <a:off x="3059113" y="1875914"/>
            <a:ext cx="28800" cy="1404000"/>
          </a:xfrm>
          <a:prstGeom prst="rect">
            <a:avLst/>
          </a:prstGeom>
          <a:solidFill>
            <a:srgbClr val="2DD7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358979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BBF1-1ECB-4F52-B6AC-F5C2765D18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8CFF43A-5497-4D1B-8FBC-5DCB296CE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842963"/>
            <a:ext cx="2700338" cy="3457575"/>
          </a:xfrm>
        </p:spPr>
        <p:txBody>
          <a:bodyPr anchor="ctr"/>
          <a:lstStyle>
            <a:lvl1pPr algn="l">
              <a:defRPr sz="3200" b="1"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KEY FINDING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C980BDD-B7E3-4F37-9FF5-907DD67BE0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1200" y="842963"/>
            <a:ext cx="5387975" cy="3457575"/>
          </a:xfrm>
        </p:spPr>
        <p:txBody>
          <a:bodyPr anchor="ctr"/>
          <a:lstStyle>
            <a:lvl1pPr marL="171450" indent="-171450">
              <a:buClr>
                <a:srgbClr val="2DD7C3"/>
              </a:buClr>
              <a:buFont typeface="Arial" panose="020B0604020202020204" pitchFamily="34" charset="0"/>
              <a:buChar char="•"/>
              <a:defRPr>
                <a:latin typeface="adineue TEXT Light" panose="020B03030202010600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endParaRPr lang="en-US" dirty="0"/>
          </a:p>
          <a:p>
            <a:pPr lvl="0"/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endParaRPr lang="en-US" dirty="0"/>
          </a:p>
          <a:p>
            <a:pPr lvl="0"/>
            <a:r>
              <a:rPr lang="en-US" dirty="0"/>
              <a:t>Justo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0078900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539C10-7239-4A92-86DF-C3F5ADD8943F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38AC498-56F3-42CE-84A9-827431C85654}"/>
              </a:ext>
            </a:extLst>
          </p:cNvPr>
          <p:cNvGrpSpPr/>
          <p:nvPr userDrawn="1"/>
        </p:nvGrpSpPr>
        <p:grpSpPr>
          <a:xfrm>
            <a:off x="-62993" y="-78897"/>
            <a:ext cx="9341552" cy="5326782"/>
            <a:chOff x="-62993" y="-78897"/>
            <a:chExt cx="9341552" cy="532678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3E3B8B-643D-4ADF-BBB7-6324EF51C8F6}"/>
                </a:ext>
              </a:extLst>
            </p:cNvPr>
            <p:cNvGrpSpPr/>
            <p:nvPr userDrawn="1"/>
          </p:nvGrpSpPr>
          <p:grpSpPr>
            <a:xfrm>
              <a:off x="1700845" y="-78896"/>
              <a:ext cx="0" cy="5326781"/>
              <a:chOff x="1522293" y="-92546"/>
              <a:chExt cx="0" cy="5326781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03A18556-A33F-4330-8D38-BD7322FED05E}"/>
                  </a:ext>
                </a:extLst>
              </p:cNvPr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056C59D-8F74-4104-9206-D3E8B6F2148B}"/>
                  </a:ext>
                </a:extLst>
              </p:cNvPr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C56A938-2DDD-4AA2-A6F3-0DED9C27FF30}"/>
                </a:ext>
              </a:extLst>
            </p:cNvPr>
            <p:cNvGrpSpPr/>
            <p:nvPr userDrawn="1"/>
          </p:nvGrpSpPr>
          <p:grpSpPr>
            <a:xfrm>
              <a:off x="-62993" y="268050"/>
              <a:ext cx="9341425" cy="0"/>
              <a:chOff x="-88214" y="428625"/>
              <a:chExt cx="9268509" cy="0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8179F7CC-2CB5-4320-A1B2-DE7181B066EC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26686D40-4D5C-47BC-8051-1A3813477ABC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7F2E8363-9288-4C7D-830A-82A05949F2CE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96484D4E-F13B-4372-B729-3285378104F9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33E0781-B123-41FF-9EA2-217359477983}"/>
                </a:ext>
              </a:extLst>
            </p:cNvPr>
            <p:cNvGrpSpPr/>
            <p:nvPr userDrawn="1"/>
          </p:nvGrpSpPr>
          <p:grpSpPr>
            <a:xfrm>
              <a:off x="267699" y="-78897"/>
              <a:ext cx="0" cy="5326782"/>
              <a:chOff x="1746825" y="-56409"/>
              <a:chExt cx="0" cy="5287275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8EF9B0E-D371-4782-8612-55F42CD1D396}"/>
                  </a:ext>
                </a:extLst>
              </p:cNvPr>
              <p:cNvCxnSpPr/>
              <p:nvPr userDrawn="1"/>
            </p:nvCxnSpPr>
            <p:spPr bwMode="gray">
              <a:xfrm flipV="1">
                <a:off x="1746825" y="5195133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63A04443-F54F-425C-BA88-FFBF9DCBEC42}"/>
                  </a:ext>
                </a:extLst>
              </p:cNvPr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57B3302-A856-42F3-BC52-4481882B95B2}"/>
                </a:ext>
              </a:extLst>
            </p:cNvPr>
            <p:cNvGrpSpPr/>
            <p:nvPr userDrawn="1"/>
          </p:nvGrpSpPr>
          <p:grpSpPr>
            <a:xfrm>
              <a:off x="3135327" y="-78896"/>
              <a:ext cx="0" cy="5326781"/>
              <a:chOff x="3135327" y="-78896"/>
              <a:chExt cx="0" cy="5326781"/>
            </a:xfrm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C650598-A699-4783-9E37-CCCD8BF7BF35}"/>
                  </a:ext>
                </a:extLst>
              </p:cNvPr>
              <p:cNvCxnSpPr/>
              <p:nvPr userDrawn="1"/>
            </p:nvCxnSpPr>
            <p:spPr bwMode="gray">
              <a:xfrm flipV="1">
                <a:off x="3135327" y="521188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74D0FFA-290F-4D8A-9AFC-5C9D69FC5244}"/>
                  </a:ext>
                </a:extLst>
              </p:cNvPr>
              <p:cNvCxnSpPr/>
              <p:nvPr/>
            </p:nvCxnSpPr>
            <p:spPr bwMode="gray">
              <a:xfrm flipV="1">
                <a:off x="3135327" y="-7889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3A74926-8A42-4D3E-A7F3-3A1CD59A99DB}"/>
                </a:ext>
              </a:extLst>
            </p:cNvPr>
            <p:cNvGrpSpPr/>
            <p:nvPr userDrawn="1"/>
          </p:nvGrpSpPr>
          <p:grpSpPr>
            <a:xfrm>
              <a:off x="7441448" y="-78896"/>
              <a:ext cx="0" cy="5326781"/>
              <a:chOff x="7619200" y="-56830"/>
              <a:chExt cx="0" cy="5326781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D2B3C389-68EF-4F11-A397-A53BF868FDF2}"/>
                  </a:ext>
                </a:extLst>
              </p:cNvPr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32527AB-F474-4CA5-82BF-898B6FCA7900}"/>
                  </a:ext>
                </a:extLst>
              </p:cNvPr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B6EAB66D-0F65-4452-A84E-2455600563BC}"/>
                  </a:ext>
                </a:extLst>
              </p:cNvPr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59F75384-77AB-4A19-9592-9938F5F33548}"/>
                  </a:ext>
                </a:extLst>
              </p:cNvPr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8DAAE17-9B43-4CED-A3DB-80C5171E14B9}"/>
                </a:ext>
              </a:extLst>
            </p:cNvPr>
            <p:cNvGrpSpPr/>
            <p:nvPr userDrawn="1"/>
          </p:nvGrpSpPr>
          <p:grpSpPr>
            <a:xfrm>
              <a:off x="4557498" y="-78896"/>
              <a:ext cx="0" cy="5326781"/>
              <a:chOff x="4557498" y="-78896"/>
              <a:chExt cx="0" cy="5326781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E61EB35-0156-4A7D-80C9-356A198BFBF4}"/>
                  </a:ext>
                </a:extLst>
              </p:cNvPr>
              <p:cNvCxnSpPr/>
              <p:nvPr userDrawn="1"/>
            </p:nvCxnSpPr>
            <p:spPr bwMode="gray">
              <a:xfrm flipV="1">
                <a:off x="4557498" y="521188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4E553F9-F6D2-4B36-8D7D-AF21D41F921E}"/>
                  </a:ext>
                </a:extLst>
              </p:cNvPr>
              <p:cNvCxnSpPr/>
              <p:nvPr/>
            </p:nvCxnSpPr>
            <p:spPr bwMode="gray">
              <a:xfrm flipV="1">
                <a:off x="4557498" y="-7889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A121D9A-3850-4DB3-8C94-C13A6713CBE7}"/>
                  </a:ext>
                </a:extLst>
              </p:cNvPr>
              <p:cNvCxnSpPr/>
              <p:nvPr userDrawn="1"/>
            </p:nvCxnSpPr>
            <p:spPr bwMode="gray">
              <a:xfrm flipV="1">
                <a:off x="4557498" y="521188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41AB9C9-D257-4E83-9138-FC0C34A7BEE8}"/>
                </a:ext>
              </a:extLst>
            </p:cNvPr>
            <p:cNvGrpSpPr/>
            <p:nvPr userDrawn="1"/>
          </p:nvGrpSpPr>
          <p:grpSpPr>
            <a:xfrm>
              <a:off x="6006965" y="-78896"/>
              <a:ext cx="0" cy="5326781"/>
              <a:chOff x="6006965" y="-78896"/>
              <a:chExt cx="0" cy="5326781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0B9E9D1-99FE-4741-8824-1E5AF0599AB8}"/>
                  </a:ext>
                </a:extLst>
              </p:cNvPr>
              <p:cNvCxnSpPr/>
              <p:nvPr userDrawn="1"/>
            </p:nvCxnSpPr>
            <p:spPr bwMode="gray">
              <a:xfrm flipV="1">
                <a:off x="6006965" y="521188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41BEE01-E861-4AD5-8EB7-697AF20EEB65}"/>
                  </a:ext>
                </a:extLst>
              </p:cNvPr>
              <p:cNvCxnSpPr/>
              <p:nvPr/>
            </p:nvCxnSpPr>
            <p:spPr bwMode="gray">
              <a:xfrm flipV="1">
                <a:off x="6006965" y="-7889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4E64493-8FFB-4734-B239-B31E2D85F112}"/>
                  </a:ext>
                </a:extLst>
              </p:cNvPr>
              <p:cNvCxnSpPr/>
              <p:nvPr userDrawn="1"/>
            </p:nvCxnSpPr>
            <p:spPr bwMode="gray">
              <a:xfrm flipV="1">
                <a:off x="6006965" y="521188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BFF45CF-310B-4884-924E-A0A77AAF8C46}"/>
                </a:ext>
              </a:extLst>
            </p:cNvPr>
            <p:cNvGrpSpPr/>
            <p:nvPr userDrawn="1"/>
          </p:nvGrpSpPr>
          <p:grpSpPr>
            <a:xfrm>
              <a:off x="8874592" y="-78897"/>
              <a:ext cx="0" cy="5326782"/>
              <a:chOff x="1746825" y="-56409"/>
              <a:chExt cx="0" cy="528727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AE8B254F-A9C0-4268-AED1-B3A405B45D90}"/>
                  </a:ext>
                </a:extLst>
              </p:cNvPr>
              <p:cNvCxnSpPr/>
              <p:nvPr userDrawn="1"/>
            </p:nvCxnSpPr>
            <p:spPr bwMode="gray">
              <a:xfrm flipV="1">
                <a:off x="1746825" y="5195133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61E594-044C-44A6-A1CB-BD7CD978FF4E}"/>
                  </a:ext>
                </a:extLst>
              </p:cNvPr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F5D5D2B-0A86-40C1-9CBA-355A50410791}"/>
                </a:ext>
              </a:extLst>
            </p:cNvPr>
            <p:cNvGrpSpPr/>
            <p:nvPr userDrawn="1"/>
          </p:nvGrpSpPr>
          <p:grpSpPr>
            <a:xfrm>
              <a:off x="-62993" y="880496"/>
              <a:ext cx="9341425" cy="0"/>
              <a:chOff x="-88214" y="406099"/>
              <a:chExt cx="9268509" cy="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74EF40D-9EC4-4546-B0E8-8648D65C26F3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78C4E56-E045-4A82-938D-BD9438D6B43C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FEDD29E-71F2-446F-877B-E005A0AEEE9C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3939FF04-CF92-40C0-9294-B4CD5B0BD288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12C45E5-DFC8-4D82-B8DB-E0C716353FD6}"/>
                </a:ext>
              </a:extLst>
            </p:cNvPr>
            <p:cNvGrpSpPr/>
            <p:nvPr userDrawn="1"/>
          </p:nvGrpSpPr>
          <p:grpSpPr>
            <a:xfrm>
              <a:off x="-62993" y="1681614"/>
              <a:ext cx="9341425" cy="0"/>
              <a:chOff x="-88214" y="406099"/>
              <a:chExt cx="9268509" cy="0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7C82491-BCCD-4F76-A411-84E058373024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CC78B46-0639-44A2-92EA-3EFD8F2FBC7D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14FC70F-7677-45D1-8C50-42C6CBBB56FF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6213752-FDB1-4870-AB60-B78427DECA56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C6D380-5372-4207-B107-287B647188DE}"/>
                </a:ext>
              </a:extLst>
            </p:cNvPr>
            <p:cNvGrpSpPr/>
            <p:nvPr userDrawn="1"/>
          </p:nvGrpSpPr>
          <p:grpSpPr>
            <a:xfrm>
              <a:off x="-62993" y="3283850"/>
              <a:ext cx="9341425" cy="0"/>
              <a:chOff x="-88214" y="406099"/>
              <a:chExt cx="9268509" cy="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0BFDBCA-C6E2-455B-8B8B-8BDF5C608ECF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A9C390B-0704-4A18-8A04-BF8ED843F3E6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4FEB7DA-840E-4EAB-94DC-BE22EE518F9F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8CBB728-F1E3-4809-A32F-8179816EFD25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A220361-EDDD-449A-B276-00B5ED16F1E2}"/>
                </a:ext>
              </a:extLst>
            </p:cNvPr>
            <p:cNvGrpSpPr/>
            <p:nvPr userDrawn="1"/>
          </p:nvGrpSpPr>
          <p:grpSpPr>
            <a:xfrm>
              <a:off x="-62993" y="4084968"/>
              <a:ext cx="9341425" cy="0"/>
              <a:chOff x="-88214" y="406099"/>
              <a:chExt cx="9268509" cy="0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DBFB2827-1D47-465A-9E5A-575E1A79A9A8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4C874841-8C1C-4C22-9FDB-EF3E1607DC49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E383DB39-03B2-4CA3-AFC8-235592CBD5DF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8C01CFB-C0F6-4A71-B8BA-9EA836FD898E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9FB7B43-825F-4068-A2B3-7D5838204174}"/>
                </a:ext>
              </a:extLst>
            </p:cNvPr>
            <p:cNvGrpSpPr/>
            <p:nvPr userDrawn="1"/>
          </p:nvGrpSpPr>
          <p:grpSpPr>
            <a:xfrm>
              <a:off x="-62993" y="2482732"/>
              <a:ext cx="9341425" cy="0"/>
              <a:chOff x="-88214" y="406099"/>
              <a:chExt cx="9268509" cy="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EC8AFC9A-9CBC-4F2B-8CBC-FB95B5290869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59BD78A5-A6EF-43D0-A367-002CE1B8B4FA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E61BA12-5A06-4DD9-BF8A-0B04625F060F}"/>
                  </a:ext>
                </a:extLst>
              </p:cNvPr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2A1E2785-40AA-4EB8-AABE-8ED0176E24C8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F53E817-09AA-4A39-B1C6-977A09238BEE}"/>
                </a:ext>
              </a:extLst>
            </p:cNvPr>
            <p:cNvGrpSpPr/>
            <p:nvPr userDrawn="1"/>
          </p:nvGrpSpPr>
          <p:grpSpPr>
            <a:xfrm>
              <a:off x="-62993" y="4886088"/>
              <a:ext cx="9341552" cy="0"/>
              <a:chOff x="-88213" y="406099"/>
              <a:chExt cx="9268508" cy="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836C11BA-5F93-4497-B254-871CDB7B9885}"/>
                  </a:ext>
                </a:extLst>
              </p:cNvPr>
              <p:cNvCxnSpPr/>
              <p:nvPr userDrawn="1"/>
            </p:nvCxnSpPr>
            <p:spPr bwMode="gray">
              <a:xfrm flipH="1">
                <a:off x="-88213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019FE54-B8EB-4A2B-8481-F42F90081C29}"/>
                  </a:ext>
                </a:extLst>
              </p:cNvPr>
              <p:cNvCxnSpPr/>
              <p:nvPr userDrawn="1"/>
            </p:nvCxnSpPr>
            <p:spPr bwMode="gray">
              <a:xfrm flipH="1">
                <a:off x="9144576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1723BB0-A129-4F9A-B5E2-45610BD0EA63}"/>
                  </a:ext>
                </a:extLst>
              </p:cNvPr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904" r:id="rId2"/>
    <p:sldLayoutId id="2147484906" r:id="rId3"/>
    <p:sldLayoutId id="2147484907" r:id="rId4"/>
    <p:sldLayoutId id="2147484875" r:id="rId5"/>
    <p:sldLayoutId id="2147484877" r:id="rId6"/>
    <p:sldLayoutId id="2147484909" r:id="rId7"/>
    <p:sldLayoutId id="2147484908" r:id="rId8"/>
    <p:sldLayoutId id="2147484878" r:id="rId9"/>
    <p:sldLayoutId id="2147484879" r:id="rId10"/>
    <p:sldLayoutId id="2147484880" r:id="rId11"/>
    <p:sldLayoutId id="2147484881" r:id="rId12"/>
    <p:sldLayoutId id="2147484882" r:id="rId13"/>
    <p:sldLayoutId id="2147484883" r:id="rId14"/>
    <p:sldLayoutId id="2147484884" r:id="rId15"/>
    <p:sldLayoutId id="2147484885" r:id="rId16"/>
    <p:sldLayoutId id="2147484886" r:id="rId17"/>
    <p:sldLayoutId id="2147484887" r:id="rId18"/>
    <p:sldLayoutId id="2147484888" r:id="rId19"/>
    <p:sldLayoutId id="2147484889" r:id="rId20"/>
    <p:sldLayoutId id="2147484890" r:id="rId21"/>
    <p:sldLayoutId id="2147484891" r:id="rId22"/>
    <p:sldLayoutId id="2147484892" r:id="rId23"/>
    <p:sldLayoutId id="2147484893" r:id="rId24"/>
    <p:sldLayoutId id="2147484894" r:id="rId25"/>
    <p:sldLayoutId id="2147484895" r:id="rId26"/>
    <p:sldLayoutId id="2147484896" r:id="rId27"/>
    <p:sldLayoutId id="2147484897" r:id="rId28"/>
    <p:sldLayoutId id="2147484898" r:id="rId29"/>
    <p:sldLayoutId id="2147484899" r:id="rId30"/>
    <p:sldLayoutId id="2147484900" r:id="rId31"/>
    <p:sldLayoutId id="2147484901" r:id="rId32"/>
    <p:sldLayoutId id="2147484902" r:id="rId33"/>
    <p:sldLayoutId id="2147484903" r:id="rId34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tiff"/><Relationship Id="rId3" Type="http://schemas.openxmlformats.org/officeDocument/2006/relationships/image" Target="../media/image15.png"/><Relationship Id="rId7" Type="http://schemas.openxmlformats.org/officeDocument/2006/relationships/hyperlink" Target="https://github.com/adidasBCNHackathon/AR-VR" TargetMode="External"/><Relationship Id="rId12" Type="http://schemas.openxmlformats.org/officeDocument/2006/relationships/image" Target="../media/image23.tif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11" Type="http://schemas.openxmlformats.org/officeDocument/2006/relationships/image" Target="../media/image22.tiff"/><Relationship Id="rId5" Type="http://schemas.openxmlformats.org/officeDocument/2006/relationships/image" Target="../media/image17.tiff"/><Relationship Id="rId10" Type="http://schemas.openxmlformats.org/officeDocument/2006/relationships/image" Target="../media/image21.tiff"/><Relationship Id="rId4" Type="http://schemas.openxmlformats.org/officeDocument/2006/relationships/image" Target="../media/image16.svg"/><Relationship Id="rId9" Type="http://schemas.openxmlformats.org/officeDocument/2006/relationships/image" Target="../media/image20.svg"/><Relationship Id="rId14" Type="http://schemas.openxmlformats.org/officeDocument/2006/relationships/image" Target="../media/image25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didasBCNHackathon/AR-VR" TargetMode="External"/><Relationship Id="rId13" Type="http://schemas.openxmlformats.org/officeDocument/2006/relationships/image" Target="../media/image29.tiff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4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tiff"/><Relationship Id="rId11" Type="http://schemas.openxmlformats.org/officeDocument/2006/relationships/image" Target="../media/image22.tiff"/><Relationship Id="rId5" Type="http://schemas.openxmlformats.org/officeDocument/2006/relationships/image" Target="../media/image16.svg"/><Relationship Id="rId10" Type="http://schemas.openxmlformats.org/officeDocument/2006/relationships/image" Target="../media/image20.sv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didasBCNHackathon/AR-VR" TargetMode="External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31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tiff"/><Relationship Id="rId11" Type="http://schemas.openxmlformats.org/officeDocument/2006/relationships/image" Target="../media/image30.tiff"/><Relationship Id="rId5" Type="http://schemas.openxmlformats.org/officeDocument/2006/relationships/image" Target="../media/image16.svg"/><Relationship Id="rId10" Type="http://schemas.openxmlformats.org/officeDocument/2006/relationships/image" Target="../media/image20.sv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s.google.com/ar/develop/" TargetMode="External"/><Relationship Id="rId2" Type="http://schemas.openxmlformats.org/officeDocument/2006/relationships/hyperlink" Target="https://developers.google.com/vr/" TargetMode="Externa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developer.apple.com/documentation/arkit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tiff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63CB2-603B-4AC7-946D-9910054CE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239" y="1683584"/>
            <a:ext cx="4680330" cy="725769"/>
          </a:xfrm>
        </p:spPr>
        <p:txBody>
          <a:bodyPr/>
          <a:lstStyle/>
          <a:p>
            <a:r>
              <a:rPr lang="en-US" sz="3200" dirty="0"/>
              <a:t>VIRTUAL REALITY </a:t>
            </a:r>
            <a:br>
              <a:rPr lang="en-US" sz="3200" dirty="0"/>
            </a:br>
            <a:r>
              <a:rPr lang="en-US" sz="3200" dirty="0"/>
              <a:t>AUGMENTED REAL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CF6A5F-15FE-4FE4-A66A-066C594656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4239" y="2375014"/>
            <a:ext cx="4680330" cy="1096454"/>
          </a:xfrm>
        </p:spPr>
        <p:txBody>
          <a:bodyPr/>
          <a:lstStyle/>
          <a:p>
            <a:r>
              <a:rPr lang="en-US" dirty="0"/>
              <a:t>Rafael Marc</a:t>
            </a:r>
            <a:r>
              <a:rPr lang="es-ES" dirty="0" err="1"/>
              <a:t>én</a:t>
            </a:r>
            <a:endParaRPr lang="es-ES" dirty="0"/>
          </a:p>
          <a:p>
            <a:r>
              <a:rPr lang="es-ES" dirty="0"/>
              <a:t>ALEJANDRO LATORRE</a:t>
            </a:r>
          </a:p>
          <a:p>
            <a:r>
              <a:rPr lang="es-ES" dirty="0"/>
              <a:t>ISABEL AGUSTIN</a:t>
            </a:r>
          </a:p>
          <a:p>
            <a:r>
              <a:rPr lang="es-ES" dirty="0"/>
              <a:t>Fernando Aliag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E60CC3-0496-47CE-A5A8-D1DD131730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didas</a:t>
            </a:r>
            <a:r>
              <a:rPr lang="en-US" dirty="0"/>
              <a:t> Hackathon 2018 | Barcelona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700423D-CB02-EA41-9665-A772A3B8DE94}"/>
              </a:ext>
            </a:extLst>
          </p:cNvPr>
          <p:cNvSpPr txBox="1"/>
          <p:nvPr/>
        </p:nvSpPr>
        <p:spPr bwMode="gray">
          <a:xfrm>
            <a:off x="7670042" y="262037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001355-A7B6-CC49-8BDF-73E3964266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263" y="435913"/>
            <a:ext cx="3501191" cy="350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08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1FE17-17F5-7443-A0CB-8BB29362B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63E21B-43F9-2848-84E6-21D41054A98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0B48A-F7E5-C74D-9803-E5ECD5730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en-US" sz="1800" dirty="0"/>
              <a:t>Virtual Reality</a:t>
            </a:r>
          </a:p>
          <a:p>
            <a:pPr lvl="1" indent="0">
              <a:buNone/>
            </a:pP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3C17E1E-F8ED-1543-9863-875124CFE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174" y="1627134"/>
            <a:ext cx="931668" cy="711548"/>
          </a:xfrm>
          <a:prstGeom prst="rect">
            <a:avLst/>
          </a:prstGeom>
        </p:spPr>
      </p:pic>
      <p:pic>
        <p:nvPicPr>
          <p:cNvPr id="24" name="Graphic 23" descr="Group">
            <a:extLst>
              <a:ext uri="{FF2B5EF4-FFF2-40B4-BE49-F238E27FC236}">
                <a16:creationId xmlns:a16="http://schemas.microsoft.com/office/drawing/2014/main" id="{20D046B6-63B1-7844-807A-5E1A0812B6B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52529" y="1630332"/>
            <a:ext cx="708350" cy="70835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5C9831C-E155-974A-B903-728303318208}"/>
              </a:ext>
            </a:extLst>
          </p:cNvPr>
          <p:cNvSpPr/>
          <p:nvPr/>
        </p:nvSpPr>
        <p:spPr>
          <a:xfrm>
            <a:off x="1372044" y="2821650"/>
            <a:ext cx="3368206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x1 Pixel 1 / x1 Pixel 2 / x1 Samsung Galaxy S8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6E04D4B-84E5-6A45-8CF2-93959D168A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397" y="2775566"/>
            <a:ext cx="369165" cy="36916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E95954-D6C5-9B4A-8C1A-0AB415C4DA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67397" y="3386781"/>
            <a:ext cx="372944" cy="37294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CE71B85-0C8D-024A-A53E-8ECCA6864AC1}"/>
              </a:ext>
            </a:extLst>
          </p:cNvPr>
          <p:cNvSpPr/>
          <p:nvPr/>
        </p:nvSpPr>
        <p:spPr>
          <a:xfrm>
            <a:off x="1372044" y="3294447"/>
            <a:ext cx="3564100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 err="1">
                <a:cs typeface="AdihausDIN" panose="020B0504020101020102" pitchFamily="34" charset="0"/>
              </a:rPr>
              <a:t>Github</a:t>
            </a:r>
            <a:r>
              <a:rPr lang="en-US" sz="1200" dirty="0">
                <a:cs typeface="AdihausDIN" panose="020B0504020101020102" pitchFamily="34" charset="0"/>
              </a:rPr>
              <a:t> repo (</a:t>
            </a:r>
            <a:r>
              <a:rPr lang="en-US" sz="1200" dirty="0" err="1">
                <a:cs typeface="AdihausDIN" panose="020B0504020101020102" pitchFamily="34" charset="0"/>
              </a:rPr>
              <a:t>PoC</a:t>
            </a:r>
            <a:r>
              <a:rPr lang="en-US" sz="1200" dirty="0">
                <a:cs typeface="AdihausDIN" panose="020B0504020101020102" pitchFamily="34" charset="0"/>
              </a:rPr>
              <a:t>)</a:t>
            </a:r>
          </a:p>
          <a:p>
            <a:r>
              <a:rPr lang="en-US" sz="1200" dirty="0">
                <a:cs typeface="AdihausDIN" panose="020B0504020101020102" pitchFamily="34" charset="0"/>
                <a:hlinkClick r:id="rId7"/>
              </a:rPr>
              <a:t>https://github.com/adidasBCNHackathon/AR-VR</a:t>
            </a:r>
            <a:r>
              <a:rPr lang="en-US" sz="1200" dirty="0">
                <a:cs typeface="AdihausDIN" panose="020B0504020101020102" pitchFamily="34" charset="0"/>
              </a:rPr>
              <a:t>  </a:t>
            </a:r>
          </a:p>
        </p:txBody>
      </p:sp>
      <p:pic>
        <p:nvPicPr>
          <p:cNvPr id="39" name="Graphic 38" descr="Laptop">
            <a:extLst>
              <a:ext uri="{FF2B5EF4-FFF2-40B4-BE49-F238E27FC236}">
                <a16:creationId xmlns:a16="http://schemas.microsoft.com/office/drawing/2014/main" id="{BD3E1A17-FCCB-5D4C-AE90-87F633893565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56834" y="2696679"/>
            <a:ext cx="448052" cy="44805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B405E9F-BFB8-274B-BA2D-0626B0265F9B}"/>
              </a:ext>
            </a:extLst>
          </p:cNvPr>
          <p:cNvSpPr/>
          <p:nvPr/>
        </p:nvSpPr>
        <p:spPr>
          <a:xfrm>
            <a:off x="5852529" y="2782205"/>
            <a:ext cx="1513935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Own computer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33B2F9E6-C3A5-D54F-AE46-99E8359F06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4491" y="3129723"/>
            <a:ext cx="315657" cy="367445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FB57FF40-C18E-2941-A1FE-53566C52023E}"/>
              </a:ext>
            </a:extLst>
          </p:cNvPr>
          <p:cNvSpPr/>
          <p:nvPr/>
        </p:nvSpPr>
        <p:spPr>
          <a:xfrm>
            <a:off x="5852529" y="3174945"/>
            <a:ext cx="317818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Android 4.4 'Kit </a:t>
            </a:r>
            <a:r>
              <a:rPr lang="es-ES" sz="1200" dirty="0" err="1">
                <a:cs typeface="AdihausDIN" panose="020B0504020101020102" pitchFamily="34" charset="0"/>
              </a:rPr>
              <a:t>Kat</a:t>
            </a:r>
            <a:r>
              <a:rPr lang="es-ES" sz="1200" dirty="0">
                <a:cs typeface="AdihausDIN" panose="020B0504020101020102" pitchFamily="34" charset="0"/>
              </a:rPr>
              <a:t>' (API </a:t>
            </a:r>
            <a:r>
              <a:rPr lang="es-ES" sz="1200" dirty="0" err="1">
                <a:cs typeface="AdihausDIN" panose="020B0504020101020102" pitchFamily="34" charset="0"/>
              </a:rPr>
              <a:t>level</a:t>
            </a:r>
            <a:r>
              <a:rPr lang="es-ES" sz="1200" dirty="0">
                <a:cs typeface="AdihausDIN" panose="020B0504020101020102" pitchFamily="34" charset="0"/>
              </a:rPr>
              <a:t> 19) 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higher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28643CA-0D86-924D-8A7B-BC77CF0E5ADE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89203" y="3588254"/>
            <a:ext cx="383314" cy="394089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AC82D1F-6DFE-6246-AC90-38DA8223A65C}"/>
              </a:ext>
            </a:extLst>
          </p:cNvPr>
          <p:cNvSpPr/>
          <p:nvPr/>
        </p:nvSpPr>
        <p:spPr>
          <a:xfrm>
            <a:off x="5852530" y="3565923"/>
            <a:ext cx="31053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 err="1">
                <a:cs typeface="AdihausDIN" panose="020B0504020101020102" pitchFamily="34" charset="0"/>
              </a:rPr>
              <a:t>Unity</a:t>
            </a:r>
            <a:r>
              <a:rPr lang="es-ES" sz="1200" dirty="0">
                <a:cs typeface="AdihausDIN" panose="020B0504020101020102" pitchFamily="34" charset="0"/>
              </a:rPr>
              <a:t> 5.6 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late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with</a:t>
            </a:r>
            <a:r>
              <a:rPr lang="es-ES" sz="1200" dirty="0">
                <a:cs typeface="AdihausDIN" panose="020B0504020101020102" pitchFamily="34" charset="0"/>
              </a:rPr>
              <a:t> Android </a:t>
            </a:r>
            <a:r>
              <a:rPr lang="es-ES" sz="1200" dirty="0" err="1">
                <a:cs typeface="AdihausDIN" panose="020B0504020101020102" pitchFamily="34" charset="0"/>
              </a:rPr>
              <a:t>Build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Support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installed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79436F0E-5F61-CA4E-9131-CBD068A1BA9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42262" y="4077234"/>
            <a:ext cx="710267" cy="398493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B0661FC2-2DE6-5648-B292-1A262178335F}"/>
              </a:ext>
            </a:extLst>
          </p:cNvPr>
          <p:cNvSpPr/>
          <p:nvPr/>
        </p:nvSpPr>
        <p:spPr>
          <a:xfrm>
            <a:off x="5852529" y="4133741"/>
            <a:ext cx="4466659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Google VR SDK </a:t>
            </a:r>
            <a:r>
              <a:rPr lang="es-ES" sz="1200" dirty="0" err="1">
                <a:cs typeface="AdihausDIN" panose="020B0504020101020102" pitchFamily="34" charset="0"/>
              </a:rPr>
              <a:t>f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Unity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245B757-608C-CD46-A1E4-325996B091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05169" y="4404676"/>
            <a:ext cx="647360" cy="647360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62A842A4-3A14-0143-8243-11E5F97DEC14}"/>
              </a:ext>
            </a:extLst>
          </p:cNvPr>
          <p:cNvSpPr/>
          <p:nvPr/>
        </p:nvSpPr>
        <p:spPr>
          <a:xfrm>
            <a:off x="5852529" y="4617706"/>
            <a:ext cx="453187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Android SDK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BE4C38A-E720-9146-99C8-D6D362A05DEB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</a:blip>
          <a:stretch>
            <a:fillRect/>
          </a:stretch>
        </p:blipFill>
        <p:spPr>
          <a:xfrm>
            <a:off x="636287" y="3848081"/>
            <a:ext cx="424159" cy="42415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8ECF7B0-D7EE-D049-9E3E-76CE5F826277}"/>
              </a:ext>
            </a:extLst>
          </p:cNvPr>
          <p:cNvSpPr/>
          <p:nvPr/>
        </p:nvSpPr>
        <p:spPr>
          <a:xfrm>
            <a:off x="1372044" y="3892830"/>
            <a:ext cx="2679382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x10 Cardboard </a:t>
            </a:r>
          </a:p>
        </p:txBody>
      </p:sp>
    </p:spTree>
    <p:extLst>
      <p:ext uri="{BB962C8B-B14F-4D97-AF65-F5344CB8AC3E}">
        <p14:creationId xmlns:p14="http://schemas.microsoft.com/office/powerpoint/2010/main" val="213501157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52CB4B-2412-274D-B9D1-817A1FE0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mo google </a:t>
            </a:r>
            <a:r>
              <a:rPr lang="es-ES" dirty="0" err="1"/>
              <a:t>vr</a:t>
            </a:r>
            <a:endParaRPr lang="es-ES" dirty="0"/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D5011F12-A141-FE4B-8FD2-D5E544872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s-ES" dirty="0"/>
              <a:t>Virtual </a:t>
            </a:r>
            <a:r>
              <a:rPr lang="es-ES" dirty="0" err="1"/>
              <a:t>reality</a:t>
            </a:r>
            <a:endParaRPr lang="es-ES" dirty="0"/>
          </a:p>
        </p:txBody>
      </p:sp>
      <p:sp>
        <p:nvSpPr>
          <p:cNvPr id="4" name="Marcador de posición de número de diapositiva 3">
            <a:extLst>
              <a:ext uri="{FF2B5EF4-FFF2-40B4-BE49-F238E27FC236}">
                <a16:creationId xmlns:a16="http://schemas.microsoft.com/office/drawing/2014/main" id="{DC999277-F3E9-BE4A-AE49-6D24B67190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72759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número de diapositiva 1">
            <a:extLst>
              <a:ext uri="{FF2B5EF4-FFF2-40B4-BE49-F238E27FC236}">
                <a16:creationId xmlns:a16="http://schemas.microsoft.com/office/drawing/2014/main" id="{6455046D-EADE-D040-BE86-C5E5B73049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62E4278D-0B7E-2543-B477-9996DF6CD6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3</a:t>
            </a:r>
          </a:p>
        </p:txBody>
      </p:sp>
      <p:sp>
        <p:nvSpPr>
          <p:cNvPr id="4" name="Marcador de posición de texto 3">
            <a:extLst>
              <a:ext uri="{FF2B5EF4-FFF2-40B4-BE49-F238E27FC236}">
                <a16:creationId xmlns:a16="http://schemas.microsoft.com/office/drawing/2014/main" id="{FACEC49E-5DF3-AE48-B608-7AF0FF4B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 err="1"/>
              <a:t>Augmented</a:t>
            </a:r>
            <a:r>
              <a:rPr lang="es-ES" dirty="0"/>
              <a:t> </a:t>
            </a:r>
            <a:r>
              <a:rPr lang="es-ES" dirty="0" err="1"/>
              <a:t>Reality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6371406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3F83050A-3007-304F-83CC-0D33B512D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AYERS</a:t>
            </a:r>
          </a:p>
        </p:txBody>
      </p:sp>
      <p:sp>
        <p:nvSpPr>
          <p:cNvPr id="6" name="Marcador de posición de texto 5">
            <a:extLst>
              <a:ext uri="{FF2B5EF4-FFF2-40B4-BE49-F238E27FC236}">
                <a16:creationId xmlns:a16="http://schemas.microsoft.com/office/drawing/2014/main" id="{6013EED7-159E-2E44-9664-600913FCE9A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8464" y="3535450"/>
            <a:ext cx="2304122" cy="576263"/>
          </a:xfrm>
        </p:spPr>
        <p:txBody>
          <a:bodyPr/>
          <a:lstStyle/>
          <a:p>
            <a:pPr algn="ctr"/>
            <a:r>
              <a:rPr lang="es-ES" dirty="0"/>
              <a:t>TRACKING</a:t>
            </a:r>
          </a:p>
        </p:txBody>
      </p:sp>
      <p:sp>
        <p:nvSpPr>
          <p:cNvPr id="7" name="Marcador de posición de texto 6">
            <a:extLst>
              <a:ext uri="{FF2B5EF4-FFF2-40B4-BE49-F238E27FC236}">
                <a16:creationId xmlns:a16="http://schemas.microsoft.com/office/drawing/2014/main" id="{7446D0B4-DBA5-F749-AD3C-F4267257E08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78671" y="3535449"/>
            <a:ext cx="2304122" cy="576263"/>
          </a:xfrm>
        </p:spPr>
        <p:txBody>
          <a:bodyPr/>
          <a:lstStyle/>
          <a:p>
            <a:pPr algn="ctr"/>
            <a:r>
              <a:rPr lang="es-ES" dirty="0"/>
              <a:t>SCENE UNDERSTANDING</a:t>
            </a:r>
          </a:p>
        </p:txBody>
      </p:sp>
      <p:sp>
        <p:nvSpPr>
          <p:cNvPr id="8" name="Marcador de posición de texto 7">
            <a:extLst>
              <a:ext uri="{FF2B5EF4-FFF2-40B4-BE49-F238E27FC236}">
                <a16:creationId xmlns:a16="http://schemas.microsoft.com/office/drawing/2014/main" id="{A2D9D5AD-F9F1-E541-9016-9D4208E610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70666" y="3535449"/>
            <a:ext cx="2304122" cy="576263"/>
          </a:xfrm>
        </p:spPr>
        <p:txBody>
          <a:bodyPr/>
          <a:lstStyle/>
          <a:p>
            <a:pPr algn="ctr"/>
            <a:r>
              <a:rPr lang="es-ES" dirty="0"/>
              <a:t>RENDERING</a:t>
            </a:r>
          </a:p>
        </p:txBody>
      </p:sp>
      <p:sp>
        <p:nvSpPr>
          <p:cNvPr id="9" name="Marcador de posición de número de diapositiva 8">
            <a:extLst>
              <a:ext uri="{FF2B5EF4-FFF2-40B4-BE49-F238E27FC236}">
                <a16:creationId xmlns:a16="http://schemas.microsoft.com/office/drawing/2014/main" id="{CD83EA99-0EA2-C04A-8477-189403BAB6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6148" name="Picture 4" descr="page14image3815648">
            <a:extLst>
              <a:ext uri="{FF2B5EF4-FFF2-40B4-BE49-F238E27FC236}">
                <a16:creationId xmlns:a16="http://schemas.microsoft.com/office/drawing/2014/main" id="{1B4643FD-4F71-8747-91CA-5C2012277B38}"/>
              </a:ext>
            </a:extLst>
          </p:cNvPr>
          <p:cNvPicPr>
            <a:picLocks noGrp="1" noChangeAspect="1" noChangeArrowheads="1"/>
          </p:cNvPicPr>
          <p:nvPr>
            <p:ph type="pic" sz="quarter" idx="2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104" b="-11104"/>
          <a:stretch/>
        </p:blipFill>
        <p:spPr bwMode="auto">
          <a:xfrm>
            <a:off x="5471057" y="863601"/>
            <a:ext cx="2370836" cy="2897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7" descr="page13image1824448">
            <a:extLst>
              <a:ext uri="{FF2B5EF4-FFF2-40B4-BE49-F238E27FC236}">
                <a16:creationId xmlns:a16="http://schemas.microsoft.com/office/drawing/2014/main" id="{75640D4C-40B2-D74B-A771-AB7F5700C21B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158" b="-11158"/>
          <a:stretch/>
        </p:blipFill>
        <p:spPr bwMode="auto">
          <a:xfrm>
            <a:off x="2879729" y="863601"/>
            <a:ext cx="2325243" cy="284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page12image3810944">
            <a:extLst>
              <a:ext uri="{FF2B5EF4-FFF2-40B4-BE49-F238E27FC236}">
                <a16:creationId xmlns:a16="http://schemas.microsoft.com/office/drawing/2014/main" id="{B10CA645-89A8-724F-B9F9-CF76893F2410}"/>
              </a:ext>
            </a:extLst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133" b="-11133"/>
          <a:stretch/>
        </p:blipFill>
        <p:spPr bwMode="auto">
          <a:xfrm>
            <a:off x="287343" y="863602"/>
            <a:ext cx="2325243" cy="2842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898923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B688E3-0044-B642-A0AA-954543B49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523A87-BE71-3442-8286-F20189C9D0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World tracking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Visual inertial </a:t>
            </a:r>
            <a:r>
              <a:rPr lang="en-US" sz="2000" dirty="0" err="1"/>
              <a:t>odometry</a:t>
            </a:r>
            <a:r>
              <a:rPr lang="en-US" sz="2000" dirty="0"/>
              <a:t> 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No external setup </a:t>
            </a:r>
          </a:p>
          <a:p>
            <a:endParaRPr lang="en-US" dirty="0"/>
          </a:p>
        </p:txBody>
      </p:sp>
      <p:pic>
        <p:nvPicPr>
          <p:cNvPr id="5" name="Picture 8" descr="page12image3810944">
            <a:extLst>
              <a:ext uri="{FF2B5EF4-FFF2-40B4-BE49-F238E27FC236}">
                <a16:creationId xmlns:a16="http://schemas.microsoft.com/office/drawing/2014/main" id="{C2449194-C131-6647-886A-C03678BCAFA8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2" r="16672"/>
          <a:stretch/>
        </p:blipFill>
        <p:spPr bwMode="auto">
          <a:xfrm>
            <a:off x="5759450" y="57600"/>
            <a:ext cx="3455988" cy="51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20310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B688E3-0044-B642-A0AA-954543B49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SCENE UNDERSTANDING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523A87-BE71-3442-8286-F20189C9D0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Plane detection 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Hit-testing 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Light estimation </a:t>
            </a:r>
          </a:p>
          <a:p>
            <a:endParaRPr lang="en-US" dirty="0"/>
          </a:p>
        </p:txBody>
      </p:sp>
      <p:pic>
        <p:nvPicPr>
          <p:cNvPr id="5" name="Picture 7" descr="page13image1824448">
            <a:extLst>
              <a:ext uri="{FF2B5EF4-FFF2-40B4-BE49-F238E27FC236}">
                <a16:creationId xmlns:a16="http://schemas.microsoft.com/office/drawing/2014/main" id="{1BB7B2E5-A430-0943-97D2-E3DCF97AEBD2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2" r="16672"/>
          <a:stretch/>
        </p:blipFill>
        <p:spPr bwMode="auto">
          <a:xfrm>
            <a:off x="5759451" y="0"/>
            <a:ext cx="3456432" cy="5185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6901661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B688E3-0044-B642-A0AA-954543B49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DER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523A87-BE71-3442-8286-F20189C9D0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Easy integration 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AR views</a:t>
            </a:r>
            <a:br>
              <a:rPr lang="en-US" sz="2000" dirty="0"/>
            </a:br>
            <a:r>
              <a:rPr lang="en-US" sz="2000" dirty="0"/>
              <a:t>Custom rendering </a:t>
            </a:r>
          </a:p>
          <a:p>
            <a:endParaRPr lang="en-US" dirty="0"/>
          </a:p>
        </p:txBody>
      </p:sp>
      <p:pic>
        <p:nvPicPr>
          <p:cNvPr id="6" name="Picture 4" descr="page14image3815648">
            <a:extLst>
              <a:ext uri="{FF2B5EF4-FFF2-40B4-BE49-F238E27FC236}">
                <a16:creationId xmlns:a16="http://schemas.microsoft.com/office/drawing/2014/main" id="{6618687A-1A65-6A48-A9BB-20C0FB507222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2" r="16672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8210558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1FE17-17F5-7443-A0CB-8BB29362B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63E21B-43F9-2848-84E6-21D41054A98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0B48A-F7E5-C74D-9803-E5ECD5730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en-US" sz="1800" dirty="0" err="1"/>
              <a:t>ARCore</a:t>
            </a:r>
            <a:endParaRPr lang="en-US" sz="1800" dirty="0"/>
          </a:p>
          <a:p>
            <a:pPr lvl="1" indent="0">
              <a:buNone/>
            </a:pP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3C17E1E-F8ED-1543-9863-875124CFE9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174" y="1627134"/>
            <a:ext cx="931668" cy="711548"/>
          </a:xfrm>
          <a:prstGeom prst="rect">
            <a:avLst/>
          </a:prstGeom>
        </p:spPr>
      </p:pic>
      <p:pic>
        <p:nvPicPr>
          <p:cNvPr id="24" name="Graphic 23" descr="Group">
            <a:extLst>
              <a:ext uri="{FF2B5EF4-FFF2-40B4-BE49-F238E27FC236}">
                <a16:creationId xmlns:a16="http://schemas.microsoft.com/office/drawing/2014/main" id="{20D046B6-63B1-7844-807A-5E1A0812B6B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2529" y="1630332"/>
            <a:ext cx="708350" cy="70835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5C9831C-E155-974A-B903-728303318208}"/>
              </a:ext>
            </a:extLst>
          </p:cNvPr>
          <p:cNvSpPr/>
          <p:nvPr/>
        </p:nvSpPr>
        <p:spPr>
          <a:xfrm>
            <a:off x="1372044" y="2821650"/>
            <a:ext cx="3295054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x1 Pixel 1 / x1 Pixel 2 / x1 Samsung Galaxy S8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6E04D4B-84E5-6A45-8CF2-93959D168A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397" y="2775566"/>
            <a:ext cx="369165" cy="36916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E95954-D6C5-9B4A-8C1A-0AB415C4DA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667397" y="3386781"/>
            <a:ext cx="372944" cy="37294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CE71B85-0C8D-024A-A53E-8ECCA6864AC1}"/>
              </a:ext>
            </a:extLst>
          </p:cNvPr>
          <p:cNvSpPr/>
          <p:nvPr/>
        </p:nvSpPr>
        <p:spPr>
          <a:xfrm>
            <a:off x="1372044" y="3294447"/>
            <a:ext cx="3564100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 err="1">
                <a:cs typeface="AdihausDIN" panose="020B0504020101020102" pitchFamily="34" charset="0"/>
              </a:rPr>
              <a:t>Github</a:t>
            </a:r>
            <a:r>
              <a:rPr lang="en-US" sz="1200" dirty="0">
                <a:cs typeface="AdihausDIN" panose="020B0504020101020102" pitchFamily="34" charset="0"/>
              </a:rPr>
              <a:t> repo (</a:t>
            </a:r>
            <a:r>
              <a:rPr lang="en-US" sz="1200" dirty="0" err="1">
                <a:cs typeface="AdihausDIN" panose="020B0504020101020102" pitchFamily="34" charset="0"/>
              </a:rPr>
              <a:t>PoC</a:t>
            </a:r>
            <a:r>
              <a:rPr lang="en-US" sz="1200" dirty="0">
                <a:cs typeface="AdihausDIN" panose="020B0504020101020102" pitchFamily="34" charset="0"/>
              </a:rPr>
              <a:t>)</a:t>
            </a:r>
          </a:p>
          <a:p>
            <a:r>
              <a:rPr lang="en-US" sz="1200" dirty="0">
                <a:cs typeface="AdihausDIN" panose="020B0504020101020102" pitchFamily="34" charset="0"/>
                <a:hlinkClick r:id="rId8"/>
              </a:rPr>
              <a:t>https://github.com/adidasBCNHackathon/AR-VR</a:t>
            </a:r>
            <a:r>
              <a:rPr lang="en-US" sz="1200" dirty="0">
                <a:cs typeface="AdihausDIN" panose="020B0504020101020102" pitchFamily="34" charset="0"/>
              </a:rPr>
              <a:t>  </a:t>
            </a:r>
          </a:p>
        </p:txBody>
      </p:sp>
      <p:pic>
        <p:nvPicPr>
          <p:cNvPr id="39" name="Graphic 38" descr="Laptop">
            <a:extLst>
              <a:ext uri="{FF2B5EF4-FFF2-40B4-BE49-F238E27FC236}">
                <a16:creationId xmlns:a16="http://schemas.microsoft.com/office/drawing/2014/main" id="{BD3E1A17-FCCB-5D4C-AE90-87F633893565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56834" y="2696679"/>
            <a:ext cx="448052" cy="44805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B405E9F-BFB8-274B-BA2D-0626B0265F9B}"/>
              </a:ext>
            </a:extLst>
          </p:cNvPr>
          <p:cNvSpPr/>
          <p:nvPr/>
        </p:nvSpPr>
        <p:spPr>
          <a:xfrm>
            <a:off x="5852529" y="2782205"/>
            <a:ext cx="1513935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Own computer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57FF40-C18E-2941-A1FE-53566C52023E}"/>
              </a:ext>
            </a:extLst>
          </p:cNvPr>
          <p:cNvSpPr/>
          <p:nvPr/>
        </p:nvSpPr>
        <p:spPr>
          <a:xfrm>
            <a:off x="5852529" y="3174945"/>
            <a:ext cx="317818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A </a:t>
            </a:r>
            <a:r>
              <a:rPr lang="es-ES" sz="1200" dirty="0" err="1">
                <a:cs typeface="AdihausDIN" panose="020B0504020101020102" pitchFamily="34" charset="0"/>
              </a:rPr>
              <a:t>supported</a:t>
            </a:r>
            <a:r>
              <a:rPr lang="es-ES" sz="1200" dirty="0">
                <a:cs typeface="AdihausDIN" panose="020B0504020101020102" pitchFamily="34" charset="0"/>
              </a:rPr>
              <a:t> Android </a:t>
            </a:r>
            <a:r>
              <a:rPr lang="es-ES" sz="1200" dirty="0" err="1">
                <a:cs typeface="AdihausDIN" panose="020B0504020101020102" pitchFamily="34" charset="0"/>
              </a:rPr>
              <a:t>device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28643CA-0D86-924D-8A7B-BC77CF0E5ADE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89203" y="3588254"/>
            <a:ext cx="383314" cy="394089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AC82D1F-6DFE-6246-AC90-38DA8223A65C}"/>
              </a:ext>
            </a:extLst>
          </p:cNvPr>
          <p:cNvSpPr/>
          <p:nvPr/>
        </p:nvSpPr>
        <p:spPr>
          <a:xfrm>
            <a:off x="5852530" y="3565923"/>
            <a:ext cx="31053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 err="1">
                <a:cs typeface="AdihausDIN" panose="020B0504020101020102" pitchFamily="34" charset="0"/>
              </a:rPr>
              <a:t>Unity</a:t>
            </a:r>
            <a:r>
              <a:rPr lang="es-ES" sz="1200" dirty="0">
                <a:cs typeface="AdihausDIN" panose="020B0504020101020102" pitchFamily="34" charset="0"/>
              </a:rPr>
              <a:t> 2017.3.0f2 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higher</a:t>
            </a:r>
            <a:r>
              <a:rPr lang="es-ES" sz="1200" dirty="0">
                <a:cs typeface="AdihausDIN" panose="020B0504020101020102" pitchFamily="34" charset="0"/>
              </a:rPr>
              <a:t>, </a:t>
            </a:r>
            <a:r>
              <a:rPr lang="es-ES" sz="1200" dirty="0" err="1">
                <a:cs typeface="AdihausDIN" panose="020B0504020101020102" pitchFamily="34" charset="0"/>
              </a:rPr>
              <a:t>with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the</a:t>
            </a:r>
            <a:r>
              <a:rPr lang="es-ES" sz="1200" dirty="0">
                <a:cs typeface="AdihausDIN" panose="020B0504020101020102" pitchFamily="34" charset="0"/>
              </a:rPr>
              <a:t> Android </a:t>
            </a:r>
            <a:r>
              <a:rPr lang="es-ES" sz="1200" dirty="0" err="1">
                <a:cs typeface="AdihausDIN" panose="020B0504020101020102" pitchFamily="34" charset="0"/>
              </a:rPr>
              <a:t>Build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Support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component</a:t>
            </a:r>
            <a:endParaRPr lang="es-ES" sz="1200" dirty="0">
              <a:cs typeface="AdihausDIN" panose="020B0504020101020102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0661FC2-2DE6-5648-B292-1A262178335F}"/>
              </a:ext>
            </a:extLst>
          </p:cNvPr>
          <p:cNvSpPr/>
          <p:nvPr/>
        </p:nvSpPr>
        <p:spPr>
          <a:xfrm>
            <a:off x="5852529" y="4133741"/>
            <a:ext cx="4466659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 err="1">
                <a:cs typeface="AdihausDIN" panose="020B0504020101020102" pitchFamily="34" charset="0"/>
              </a:rPr>
              <a:t>ARCore</a:t>
            </a:r>
            <a:r>
              <a:rPr lang="es-ES" sz="1200" dirty="0">
                <a:cs typeface="AdihausDIN" panose="020B0504020101020102" pitchFamily="34" charset="0"/>
              </a:rPr>
              <a:t> SDK </a:t>
            </a:r>
            <a:r>
              <a:rPr lang="es-ES" sz="1200" dirty="0" err="1">
                <a:cs typeface="AdihausDIN" panose="020B0504020101020102" pitchFamily="34" charset="0"/>
              </a:rPr>
              <a:t>f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Unity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245B757-608C-CD46-A1E4-325996B091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57180" y="4404676"/>
            <a:ext cx="647360" cy="647360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62A842A4-3A14-0143-8243-11E5F97DEC14}"/>
              </a:ext>
            </a:extLst>
          </p:cNvPr>
          <p:cNvSpPr/>
          <p:nvPr/>
        </p:nvSpPr>
        <p:spPr>
          <a:xfrm>
            <a:off x="5852529" y="4525373"/>
            <a:ext cx="317818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Android SDK </a:t>
            </a:r>
            <a:r>
              <a:rPr lang="es-ES" sz="1200" dirty="0" err="1">
                <a:cs typeface="AdihausDIN" panose="020B0504020101020102" pitchFamily="34" charset="0"/>
              </a:rPr>
              <a:t>version</a:t>
            </a:r>
            <a:r>
              <a:rPr lang="es-ES" sz="1200" dirty="0">
                <a:cs typeface="AdihausDIN" panose="020B0504020101020102" pitchFamily="34" charset="0"/>
              </a:rPr>
              <a:t> 7.0 (API </a:t>
            </a:r>
            <a:r>
              <a:rPr lang="es-ES" sz="1200" dirty="0" err="1">
                <a:cs typeface="AdihausDIN" panose="020B0504020101020102" pitchFamily="34" charset="0"/>
              </a:rPr>
              <a:t>Level</a:t>
            </a:r>
            <a:r>
              <a:rPr lang="es-ES" sz="1200" dirty="0">
                <a:cs typeface="AdihausDIN" panose="020B0504020101020102" pitchFamily="34" charset="0"/>
              </a:rPr>
              <a:t> 24) 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higher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8AC9770-8481-0F4F-A6DA-E084D83FAAB8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24199" r="23805"/>
          <a:stretch/>
        </p:blipFill>
        <p:spPr>
          <a:xfrm>
            <a:off x="5280242" y="4097463"/>
            <a:ext cx="415683" cy="3775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6DF8508-6153-2B46-895C-2235D3416FF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09660" y="3188294"/>
            <a:ext cx="342400" cy="3424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8161357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1FE17-17F5-7443-A0CB-8BB29362B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63E21B-43F9-2848-84E6-21D41054A98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639176" y="489668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0B48A-F7E5-C74D-9803-E5ECD5730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en-US" sz="1800" dirty="0" err="1"/>
              <a:t>ARKit</a:t>
            </a:r>
            <a:endParaRPr lang="en-US" sz="1800" dirty="0"/>
          </a:p>
          <a:p>
            <a:pPr lvl="1" indent="0">
              <a:buNone/>
            </a:pP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3C17E1E-F8ED-1543-9863-875124CFE9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174" y="1627134"/>
            <a:ext cx="931668" cy="711548"/>
          </a:xfrm>
          <a:prstGeom prst="rect">
            <a:avLst/>
          </a:prstGeom>
        </p:spPr>
      </p:pic>
      <p:pic>
        <p:nvPicPr>
          <p:cNvPr id="24" name="Graphic 23" descr="Group">
            <a:extLst>
              <a:ext uri="{FF2B5EF4-FFF2-40B4-BE49-F238E27FC236}">
                <a16:creationId xmlns:a16="http://schemas.microsoft.com/office/drawing/2014/main" id="{20D046B6-63B1-7844-807A-5E1A0812B6B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2529" y="1630332"/>
            <a:ext cx="708350" cy="70835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5C9831C-E155-974A-B903-728303318208}"/>
              </a:ext>
            </a:extLst>
          </p:cNvPr>
          <p:cNvSpPr/>
          <p:nvPr/>
        </p:nvSpPr>
        <p:spPr>
          <a:xfrm>
            <a:off x="1372044" y="2821650"/>
            <a:ext cx="2329447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x1 iPhone X / x1 iPhone 7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6E04D4B-84E5-6A45-8CF2-93959D168A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397" y="2775566"/>
            <a:ext cx="369165" cy="36916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E95954-D6C5-9B4A-8C1A-0AB415C4DA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667397" y="3386781"/>
            <a:ext cx="372944" cy="37294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CE71B85-0C8D-024A-A53E-8ECCA6864AC1}"/>
              </a:ext>
            </a:extLst>
          </p:cNvPr>
          <p:cNvSpPr/>
          <p:nvPr/>
        </p:nvSpPr>
        <p:spPr>
          <a:xfrm>
            <a:off x="1372044" y="3294447"/>
            <a:ext cx="3564100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 err="1">
                <a:cs typeface="AdihausDIN" panose="020B0504020101020102" pitchFamily="34" charset="0"/>
              </a:rPr>
              <a:t>Github</a:t>
            </a:r>
            <a:r>
              <a:rPr lang="en-US" sz="1200" dirty="0">
                <a:cs typeface="AdihausDIN" panose="020B0504020101020102" pitchFamily="34" charset="0"/>
              </a:rPr>
              <a:t> repo (</a:t>
            </a:r>
            <a:r>
              <a:rPr lang="en-US" sz="1200" dirty="0" err="1">
                <a:cs typeface="AdihausDIN" panose="020B0504020101020102" pitchFamily="34" charset="0"/>
              </a:rPr>
              <a:t>PoC</a:t>
            </a:r>
            <a:r>
              <a:rPr lang="en-US" sz="1200" dirty="0">
                <a:cs typeface="AdihausDIN" panose="020B0504020101020102" pitchFamily="34" charset="0"/>
              </a:rPr>
              <a:t>)</a:t>
            </a:r>
          </a:p>
          <a:p>
            <a:r>
              <a:rPr lang="en-US" sz="1200" dirty="0">
                <a:cs typeface="AdihausDIN" panose="020B0504020101020102" pitchFamily="34" charset="0"/>
                <a:hlinkClick r:id="rId8"/>
              </a:rPr>
              <a:t>https://github.com/adidasBCNHackathon/AR-VR</a:t>
            </a:r>
            <a:r>
              <a:rPr lang="en-US" sz="1200" dirty="0">
                <a:cs typeface="AdihausDIN" panose="020B0504020101020102" pitchFamily="34" charset="0"/>
              </a:rPr>
              <a:t>  </a:t>
            </a:r>
          </a:p>
        </p:txBody>
      </p:sp>
      <p:pic>
        <p:nvPicPr>
          <p:cNvPr id="39" name="Graphic 38" descr="Laptop">
            <a:extLst>
              <a:ext uri="{FF2B5EF4-FFF2-40B4-BE49-F238E27FC236}">
                <a16:creationId xmlns:a16="http://schemas.microsoft.com/office/drawing/2014/main" id="{BD3E1A17-FCCB-5D4C-AE90-87F633893565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56834" y="2696679"/>
            <a:ext cx="448052" cy="44805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B405E9F-BFB8-274B-BA2D-0626B0265F9B}"/>
              </a:ext>
            </a:extLst>
          </p:cNvPr>
          <p:cNvSpPr/>
          <p:nvPr/>
        </p:nvSpPr>
        <p:spPr>
          <a:xfrm>
            <a:off x="5852529" y="2782205"/>
            <a:ext cx="2223212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200" dirty="0">
                <a:cs typeface="AdihausDIN" panose="020B0504020101020102" pitchFamily="34" charset="0"/>
              </a:rPr>
              <a:t>Own computers (MacBook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57FF40-C18E-2941-A1FE-53566C52023E}"/>
              </a:ext>
            </a:extLst>
          </p:cNvPr>
          <p:cNvSpPr/>
          <p:nvPr/>
        </p:nvSpPr>
        <p:spPr>
          <a:xfrm>
            <a:off x="5852529" y="3174945"/>
            <a:ext cx="317818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iPhone 6s 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higher</a:t>
            </a:r>
            <a:endParaRPr lang="es-ES" sz="1200" dirty="0">
              <a:cs typeface="AdihausDIN" panose="020B0504020101020102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6DF8508-6153-2B46-895C-2235D3416FF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09660" y="3188294"/>
            <a:ext cx="342400" cy="342400"/>
          </a:xfrm>
          <a:prstGeom prst="rect">
            <a:avLst/>
          </a:prstGeom>
          <a:noFill/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28A69EC-3422-854F-A325-6416B07A140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78406" y="3616371"/>
            <a:ext cx="404907" cy="40490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40EC4C0-B563-124B-8C45-8BE191E0EABB}"/>
              </a:ext>
            </a:extLst>
          </p:cNvPr>
          <p:cNvSpPr/>
          <p:nvPr/>
        </p:nvSpPr>
        <p:spPr>
          <a:xfrm>
            <a:off x="5852528" y="3644921"/>
            <a:ext cx="317818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 err="1">
                <a:cs typeface="AdihausDIN" panose="020B0504020101020102" pitchFamily="34" charset="0"/>
              </a:rPr>
              <a:t>Xcode</a:t>
            </a:r>
            <a:r>
              <a:rPr lang="es-ES" sz="1200" dirty="0">
                <a:cs typeface="AdihausDIN" panose="020B0504020101020102" pitchFamily="34" charset="0"/>
              </a:rPr>
              <a:t> 9.0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EF0B6E0-75FB-DE49-836A-1E08695069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68845" y="4092947"/>
            <a:ext cx="424027" cy="42402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DB44533-AFDE-8C40-9087-56A16E2A683C}"/>
              </a:ext>
            </a:extLst>
          </p:cNvPr>
          <p:cNvSpPr/>
          <p:nvPr/>
        </p:nvSpPr>
        <p:spPr>
          <a:xfrm>
            <a:off x="5852528" y="4110088"/>
            <a:ext cx="3178183" cy="276999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s-ES" sz="1200" dirty="0">
                <a:cs typeface="AdihausDIN" panose="020B0504020101020102" pitchFamily="34" charset="0"/>
              </a:rPr>
              <a:t>iOS 11.0 </a:t>
            </a:r>
            <a:r>
              <a:rPr lang="es-ES" sz="1200" dirty="0" err="1">
                <a:cs typeface="AdihausDIN" panose="020B0504020101020102" pitchFamily="34" charset="0"/>
              </a:rPr>
              <a:t>or</a:t>
            </a:r>
            <a:r>
              <a:rPr lang="es-ES" sz="1200" dirty="0">
                <a:cs typeface="AdihausDIN" panose="020B0504020101020102" pitchFamily="34" charset="0"/>
              </a:rPr>
              <a:t> </a:t>
            </a:r>
            <a:r>
              <a:rPr lang="es-ES" sz="1200" dirty="0" err="1">
                <a:cs typeface="AdihausDIN" panose="020B0504020101020102" pitchFamily="34" charset="0"/>
              </a:rPr>
              <a:t>higher</a:t>
            </a:r>
            <a:endParaRPr lang="es-ES" sz="1200" dirty="0"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7011792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52CB4B-2412-274D-B9D1-817A1FE0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mo AR UNITY ANDROID</a:t>
            </a:r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D5011F12-A141-FE4B-8FD2-D5E544872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s-ES" dirty="0"/>
              <a:t>AUGMENTED </a:t>
            </a:r>
            <a:r>
              <a:rPr lang="es-ES" dirty="0" err="1"/>
              <a:t>reality</a:t>
            </a:r>
            <a:endParaRPr lang="es-ES" dirty="0"/>
          </a:p>
        </p:txBody>
      </p:sp>
      <p:sp>
        <p:nvSpPr>
          <p:cNvPr id="4" name="Marcador de posición de número de diapositiva 3">
            <a:extLst>
              <a:ext uri="{FF2B5EF4-FFF2-40B4-BE49-F238E27FC236}">
                <a16:creationId xmlns:a16="http://schemas.microsoft.com/office/drawing/2014/main" id="{DC999277-F3E9-BE4A-AE49-6D24B67190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06117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9">
            <a:extLst>
              <a:ext uri="{FF2B5EF4-FFF2-40B4-BE49-F238E27FC236}">
                <a16:creationId xmlns:a16="http://schemas.microsoft.com/office/drawing/2014/main" id="{31173DB7-2947-224C-B6B2-D05A340AD184}"/>
              </a:ext>
            </a:extLst>
          </p:cNvPr>
          <p:cNvSpPr/>
          <p:nvPr/>
        </p:nvSpPr>
        <p:spPr bwMode="gray">
          <a:xfrm>
            <a:off x="5361316" y="2416366"/>
            <a:ext cx="2861459" cy="432048"/>
          </a:xfrm>
          <a:prstGeom prst="rect">
            <a:avLst/>
          </a:prstGeom>
          <a:solidFill>
            <a:srgbClr val="2DD7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1947" tIns="71947" rIns="71947" bIns="7194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3178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6354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5953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12706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6588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19061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72237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2541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06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all" spc="0" normalizeH="0" baseline="0" noProof="0" dirty="0" err="1">
              <a:ln>
                <a:noFill/>
              </a:ln>
              <a:solidFill>
                <a:srgbClr val="2DD7C3"/>
              </a:solidFill>
              <a:effectLst/>
              <a:uLnTx/>
              <a:uFillTx/>
              <a:latin typeface="adineue PRO TT Black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8" name="Rechteck 9">
            <a:extLst>
              <a:ext uri="{FF2B5EF4-FFF2-40B4-BE49-F238E27FC236}">
                <a16:creationId xmlns:a16="http://schemas.microsoft.com/office/drawing/2014/main" id="{A228F56C-C186-DC44-9A80-C10E8F1F3909}"/>
              </a:ext>
            </a:extLst>
          </p:cNvPr>
          <p:cNvSpPr/>
          <p:nvPr/>
        </p:nvSpPr>
        <p:spPr bwMode="gray">
          <a:xfrm>
            <a:off x="5361317" y="1824074"/>
            <a:ext cx="2329196" cy="432048"/>
          </a:xfrm>
          <a:prstGeom prst="rect">
            <a:avLst/>
          </a:prstGeom>
          <a:solidFill>
            <a:srgbClr val="2DD7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1947" tIns="71947" rIns="71947" bIns="7194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3178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6354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5953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12706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6588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19061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72237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2541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06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all" spc="0" normalizeH="0" baseline="0" noProof="0" dirty="0" err="1">
              <a:ln>
                <a:noFill/>
              </a:ln>
              <a:solidFill>
                <a:srgbClr val="2DD7C3"/>
              </a:solidFill>
              <a:effectLst/>
              <a:uLnTx/>
              <a:uFillTx/>
              <a:latin typeface="adineue PRO TT Black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902B42-2810-4DDD-92BC-36F85FED4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4" name="Grafik 6" descr="Ein Bild, das draußen, Skifahren, Himmel, Boden enthält.&#10;&#10;Mit sehr hoher Zuverlässigkeit generierte Beschreibung">
            <a:extLst>
              <a:ext uri="{FF2B5EF4-FFF2-40B4-BE49-F238E27FC236}">
                <a16:creationId xmlns:a16="http://schemas.microsoft.com/office/drawing/2014/main" id="{9D7E229E-40A4-463D-853C-8B4E319431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25" t="16803" r="61800" b="28878"/>
          <a:stretch/>
        </p:blipFill>
        <p:spPr>
          <a:xfrm flipH="1">
            <a:off x="0" y="54"/>
            <a:ext cx="4607719" cy="5184721"/>
          </a:xfrm>
          <a:prstGeom prst="rect">
            <a:avLst/>
          </a:prstGeom>
        </p:spPr>
      </p:pic>
      <p:sp>
        <p:nvSpPr>
          <p:cNvPr id="5" name="Titel 6">
            <a:extLst>
              <a:ext uri="{FF2B5EF4-FFF2-40B4-BE49-F238E27FC236}">
                <a16:creationId xmlns:a16="http://schemas.microsoft.com/office/drawing/2014/main" id="{6597F1B5-25F4-4F19-806D-CEE5B719F2FF}"/>
              </a:ext>
            </a:extLst>
          </p:cNvPr>
          <p:cNvSpPr>
            <a:spLocks noGrp="1"/>
          </p:cNvSpPr>
          <p:nvPr/>
        </p:nvSpPr>
        <p:spPr bwMode="gray">
          <a:xfrm rot="16200000">
            <a:off x="2051020" y="2245292"/>
            <a:ext cx="5184724" cy="6941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400" b="0" i="0" kern="1200" cap="all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algn="ctr"/>
            <a:r>
              <a:rPr lang="de-DE" sz="6600" dirty="0">
                <a:solidFill>
                  <a:srgbClr val="2DD7C3"/>
                </a:solidFill>
              </a:rPr>
              <a:t>AGENDA</a:t>
            </a:r>
          </a:p>
        </p:txBody>
      </p:sp>
      <p:sp>
        <p:nvSpPr>
          <p:cNvPr id="6" name="Rechteck 9">
            <a:extLst>
              <a:ext uri="{FF2B5EF4-FFF2-40B4-BE49-F238E27FC236}">
                <a16:creationId xmlns:a16="http://schemas.microsoft.com/office/drawing/2014/main" id="{60F69FBD-B54C-4951-AB2F-682BD4898EB7}"/>
              </a:ext>
            </a:extLst>
          </p:cNvPr>
          <p:cNvSpPr/>
          <p:nvPr/>
        </p:nvSpPr>
        <p:spPr bwMode="gray">
          <a:xfrm>
            <a:off x="5361317" y="1231782"/>
            <a:ext cx="2131304" cy="432048"/>
          </a:xfrm>
          <a:prstGeom prst="rect">
            <a:avLst/>
          </a:prstGeom>
          <a:solidFill>
            <a:srgbClr val="2DD7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1947" tIns="71947" rIns="71947" bIns="7194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3178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6354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59530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12706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6588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19061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72237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25415" algn="l" defTabSz="90635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06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all" spc="0" normalizeH="0" baseline="0" noProof="0" dirty="0" err="1">
              <a:ln>
                <a:noFill/>
              </a:ln>
              <a:solidFill>
                <a:srgbClr val="2DD7C3"/>
              </a:solidFill>
              <a:effectLst/>
              <a:uLnTx/>
              <a:uFillTx/>
              <a:latin typeface="adineue PRO TT Black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F30F8C62-C029-4D09-8603-A49934DFE878}"/>
              </a:ext>
            </a:extLst>
          </p:cNvPr>
          <p:cNvSpPr>
            <a:spLocks noGrp="1"/>
          </p:cNvSpPr>
          <p:nvPr/>
        </p:nvSpPr>
        <p:spPr bwMode="gray">
          <a:xfrm>
            <a:off x="5480513" y="1152525"/>
            <a:ext cx="3985735" cy="2880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itchFamily="34" charset="0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77841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78448" indent="-17844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+mj-lt"/>
              <a:buAutoNum type="arabicPeriod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253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5568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neue PRO" pitchFamily="34" charset="0"/>
              <a:buAutoNum type="arabicPeriod"/>
              <a:tabLst>
                <a:tab pos="974189" algn="l"/>
              </a:tabLst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+mj-lt"/>
                <a:ea typeface="+mn-ea"/>
                <a:cs typeface="AdihausDIN" panose="020B0504020101020102" pitchFamily="34" charset="0"/>
              </a:defRPr>
            </a:lvl6pPr>
            <a:lvl7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adineue PRO T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8pPr>
            <a:lvl9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9pPr>
          </a:lstStyle>
          <a:p>
            <a:pPr marL="0" marR="0" lvl="0" indent="0" algn="l" defTabSz="919133" rtl="0" eaLnBrk="1" fontAlgn="base" latinLnBrk="0" hangingPunct="1">
              <a:lnSpc>
                <a:spcPct val="170000"/>
              </a:lnSpc>
              <a:spcBef>
                <a:spcPct val="0"/>
              </a:spcBef>
              <a:spcAft>
                <a:spcPts val="591"/>
              </a:spcAft>
              <a:buClrTx/>
              <a:buSzPct val="90000"/>
              <a:buFont typeface="AdihausDIN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ineue PRO Black"/>
                <a:ea typeface="+mn-ea"/>
                <a:cs typeface="AdihausDIN" panose="020B0504020101020102" pitchFamily="34" charset="0"/>
              </a:rPr>
              <a:t>INTRODUCTION</a:t>
            </a: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ineue PRO Black"/>
              <a:ea typeface="+mn-ea"/>
              <a:cs typeface="AdihausDIN" panose="020B0504020101020102" pitchFamily="34" charset="0"/>
            </a:endParaRPr>
          </a:p>
          <a:p>
            <a:pPr defTabSz="919133">
              <a:lnSpc>
                <a:spcPct val="170000"/>
              </a:lnSpc>
              <a:defRPr/>
            </a:pPr>
            <a:r>
              <a:rPr lang="es-ES" sz="2000" dirty="0">
                <a:solidFill>
                  <a:prstClr val="white"/>
                </a:solidFill>
                <a:latin typeface="adineue PRO Black"/>
              </a:rPr>
              <a:t>VIRTUAL REALITY</a:t>
            </a:r>
          </a:p>
          <a:p>
            <a:pPr defTabSz="919133">
              <a:lnSpc>
                <a:spcPct val="170000"/>
              </a:lnSpc>
              <a:defRPr/>
            </a:pPr>
            <a:r>
              <a:rPr lang="es-ES" sz="2000" dirty="0">
                <a:solidFill>
                  <a:prstClr val="white"/>
                </a:solidFill>
                <a:latin typeface="adineue PRO Black"/>
              </a:rPr>
              <a:t>AUGMENTED REALITY</a:t>
            </a:r>
            <a:endParaRPr lang="en-US" sz="2000" dirty="0">
              <a:solidFill>
                <a:prstClr val="white"/>
              </a:solidFill>
              <a:latin typeface="adineue PRO Black"/>
            </a:endParaRPr>
          </a:p>
        </p:txBody>
      </p:sp>
    </p:spTree>
    <p:extLst>
      <p:ext uri="{BB962C8B-B14F-4D97-AF65-F5344CB8AC3E}">
        <p14:creationId xmlns:p14="http://schemas.microsoft.com/office/powerpoint/2010/main" val="1864388796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52CB4B-2412-274D-B9D1-817A1FE0D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mo AR IOS</a:t>
            </a:r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D5011F12-A141-FE4B-8FD2-D5E544872A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s-ES" dirty="0"/>
              <a:t>AUGMENTED </a:t>
            </a:r>
            <a:r>
              <a:rPr lang="es-ES" dirty="0" err="1"/>
              <a:t>reality</a:t>
            </a:r>
            <a:endParaRPr lang="es-ES" dirty="0"/>
          </a:p>
        </p:txBody>
      </p:sp>
      <p:sp>
        <p:nvSpPr>
          <p:cNvPr id="4" name="Marcador de posición de número de diapositiva 3">
            <a:extLst>
              <a:ext uri="{FF2B5EF4-FFF2-40B4-BE49-F238E27FC236}">
                <a16:creationId xmlns:a16="http://schemas.microsoft.com/office/drawing/2014/main" id="{DC999277-F3E9-BE4A-AE49-6D24B67190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094751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6EB6F-BA4A-9540-889F-4B33D18F0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FA0EE4-EAC1-2741-9BB3-69ECC72D82A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4D5D86-B847-F646-B752-55643EBFB2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Virtual Reality (Google V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developers.google.com/vr/</a:t>
            </a:r>
            <a:endParaRPr lang="en-US" dirty="0"/>
          </a:p>
          <a:p>
            <a:endParaRPr lang="en-US" dirty="0"/>
          </a:p>
          <a:p>
            <a:r>
              <a:rPr lang="en-US" dirty="0"/>
              <a:t>Augmented reality (</a:t>
            </a:r>
            <a:r>
              <a:rPr lang="en-US" dirty="0" err="1"/>
              <a:t>ARCore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developers.google.com/ar/develop/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Augmented reality (</a:t>
            </a:r>
            <a:r>
              <a:rPr lang="en-US" dirty="0" err="1"/>
              <a:t>ARKit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https://developer.apple.com/documentation/arkit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2821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87C91C8-A217-434D-9884-28B6AE05DA97}"/>
              </a:ext>
            </a:extLst>
          </p:cNvPr>
          <p:cNvSpPr/>
          <p:nvPr/>
        </p:nvSpPr>
        <p:spPr bwMode="gray">
          <a:xfrm>
            <a:off x="121020" y="2319484"/>
            <a:ext cx="4073790" cy="545807"/>
          </a:xfrm>
          <a:prstGeom prst="rect">
            <a:avLst/>
          </a:prstGeom>
          <a:solidFill>
            <a:srgbClr val="2CD5C4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de-DE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5" name="Title 15">
            <a:extLst>
              <a:ext uri="{FF2B5EF4-FFF2-40B4-BE49-F238E27FC236}">
                <a16:creationId xmlns:a16="http://schemas.microsoft.com/office/drawing/2014/main" id="{F41CCB8F-B184-4C1C-B593-5EF0213C4730}"/>
              </a:ext>
            </a:extLst>
          </p:cNvPr>
          <p:cNvSpPr txBox="1">
            <a:spLocks/>
          </p:cNvSpPr>
          <p:nvPr/>
        </p:nvSpPr>
        <p:spPr bwMode="gray">
          <a:xfrm>
            <a:off x="332499" y="1906208"/>
            <a:ext cx="4501665" cy="826551"/>
          </a:xfrm>
          <a:prstGeom prst="rect">
            <a:avLst/>
          </a:prstGeom>
        </p:spPr>
        <p:txBody>
          <a:bodyPr vert="horz" lIns="0" tIns="0" rIns="0" bIns="35990" rtlCol="0" anchor="b" anchorCtr="0">
            <a:noAutofit/>
          </a:bodyPr>
          <a:lstStyle>
            <a:lvl1pPr algn="l" defTabSz="907359" rtl="0" eaLnBrk="1" latinLnBrk="0" hangingPunct="1">
              <a:lnSpc>
                <a:spcPct val="67000"/>
              </a:lnSpc>
              <a:spcBef>
                <a:spcPct val="0"/>
              </a:spcBef>
              <a:buClrTx/>
              <a:buNone/>
              <a:tabLst/>
              <a:defRPr sz="4800" strike="noStrike" kern="1200" cap="all" spc="-3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2pPr>
            <a:lvl3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3pPr>
            <a:lvl4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4pPr>
            <a:lvl5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5pPr>
            <a:lvl6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6pPr>
            <a:lvl7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7pPr>
            <a:lvl8pPr algn="l" rtl="0"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8pPr>
            <a:lvl9pPr eaLnBrk="1" hangingPunct="1">
              <a:lnSpc>
                <a:spcPct val="67000"/>
              </a:lnSpc>
              <a:defRPr sz="4800" kern="1200" cap="all" spc="-30" baseline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dirty="0"/>
              <a:t>THANK YOU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7DC29B-757F-4012-8F39-1D57F460B161}"/>
              </a:ext>
            </a:extLst>
          </p:cNvPr>
          <p:cNvSpPr txBox="1">
            <a:spLocks/>
          </p:cNvSpPr>
          <p:nvPr/>
        </p:nvSpPr>
        <p:spPr bwMode="gray">
          <a:xfrm>
            <a:off x="5680710" y="882408"/>
            <a:ext cx="3380937" cy="34199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07359" rtl="0" eaLnBrk="1" latinLnBrk="0" hangingPunct="1">
              <a:lnSpc>
                <a:spcPct val="67000"/>
              </a:lnSpc>
              <a:spcBef>
                <a:spcPct val="0"/>
              </a:spcBef>
              <a:buClrTx/>
              <a:buNone/>
              <a:defRPr sz="4200" strike="noStrike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hangingPunct="1">
              <a:lnSpc>
                <a:spcPct val="80000"/>
              </a:lnSpc>
              <a:defRPr kern="1200" cap="all" spc="0" baseline="0">
                <a:solidFill>
                  <a:sysClr val="windowText" lastClr="000000"/>
                </a:solidFill>
                <a:latin typeface="+mj-lt"/>
              </a:defRPr>
            </a:lvl2pPr>
            <a:lvl3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3pPr>
            <a:lvl4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4pPr>
            <a:lvl5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marL="0" marR="0" lvl="0" indent="0" algn="l" defTabSz="907359" rtl="0" eaLnBrk="1" fontAlgn="auto" latinLnBrk="0" hangingPunct="1">
              <a:lnSpc>
                <a:spcPct val="67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spc="600" dirty="0" err="1">
                <a:solidFill>
                  <a:srgbClr val="2CD5C4"/>
                </a:solidFill>
              </a:rPr>
              <a:t>adidas</a:t>
            </a:r>
            <a:endParaRPr lang="en-US" sz="3200" spc="600" dirty="0">
              <a:solidFill>
                <a:srgbClr val="2CD5C4"/>
              </a:solidFill>
            </a:endParaRPr>
          </a:p>
          <a:p>
            <a:pPr marL="0" marR="0" lvl="0" indent="0" algn="l" defTabSz="907359" rtl="0" eaLnBrk="1" fontAlgn="auto" latinLnBrk="0" hangingPunct="1">
              <a:lnSpc>
                <a:spcPct val="67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spc="600" dirty="0">
                <a:solidFill>
                  <a:srgbClr val="2CD5C4"/>
                </a:solidFill>
              </a:rPr>
              <a:t>hackathon </a:t>
            </a:r>
          </a:p>
          <a:p>
            <a:pPr marL="0" marR="0" lvl="0" indent="0" algn="l" defTabSz="907359" rtl="0" eaLnBrk="1" fontAlgn="auto" latinLnBrk="0" hangingPunct="1">
              <a:lnSpc>
                <a:spcPct val="67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spc="600" dirty="0">
                <a:solidFill>
                  <a:srgbClr val="2CD5C4"/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2725802646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número de diapositiva 1">
            <a:extLst>
              <a:ext uri="{FF2B5EF4-FFF2-40B4-BE49-F238E27FC236}">
                <a16:creationId xmlns:a16="http://schemas.microsoft.com/office/drawing/2014/main" id="{6455046D-EADE-D040-BE86-C5E5B73049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62E4278D-0B7E-2543-B477-9996DF6CD6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1 </a:t>
            </a:r>
          </a:p>
        </p:txBody>
      </p:sp>
      <p:sp>
        <p:nvSpPr>
          <p:cNvPr id="4" name="Marcador de posición de texto 3">
            <a:extLst>
              <a:ext uri="{FF2B5EF4-FFF2-40B4-BE49-F238E27FC236}">
                <a16:creationId xmlns:a16="http://schemas.microsoft.com/office/drawing/2014/main" id="{FACEC49E-5DF3-AE48-B608-7AF0FF4B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 err="1"/>
              <a:t>Introductio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2453958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D92DF3D-A4F8-7041-9433-9AFB8071FDD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0" y="28281"/>
            <a:ext cx="9215438" cy="5184775"/>
          </a:xfrm>
        </p:spPr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0E8EFD-7BEE-6045-A27D-C800BA5A9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D8862E2-66F3-714E-9D36-175458968FD1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/>
          <a:srcRect l="17681" r="17681"/>
          <a:stretch>
            <a:fillRect/>
          </a:stretch>
        </p:blipFill>
        <p:spPr/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A11F1EC2-4326-DC46-ADB7-7C8FD2987157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3"/>
          <a:srcRect l="14213" r="14213"/>
          <a:stretch>
            <a:fillRect/>
          </a:stretch>
        </p:blipFill>
        <p:spPr>
          <a:xfrm>
            <a:off x="4607718" y="1152202"/>
            <a:ext cx="4032519" cy="3168973"/>
          </a:xfrm>
        </p:spPr>
      </p:pic>
      <p:sp>
        <p:nvSpPr>
          <p:cNvPr id="7" name="Textplatzhalter 7">
            <a:extLst>
              <a:ext uri="{FF2B5EF4-FFF2-40B4-BE49-F238E27FC236}">
                <a16:creationId xmlns:a16="http://schemas.microsoft.com/office/drawing/2014/main" id="{3631A3A8-C1BA-4126-AC6E-61F28EC015AE}"/>
              </a:ext>
            </a:extLst>
          </p:cNvPr>
          <p:cNvSpPr>
            <a:spLocks noGrp="1"/>
          </p:cNvSpPr>
          <p:nvPr/>
        </p:nvSpPr>
        <p:spPr bwMode="gray">
          <a:xfrm>
            <a:off x="814696" y="1158865"/>
            <a:ext cx="2337123" cy="5761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itchFamily="34" charset="0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77841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78448" indent="-17844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+mj-lt"/>
              <a:buAutoNum type="arabicPeriod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253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5568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neue PRO" pitchFamily="34" charset="0"/>
              <a:buAutoNum type="arabicPeriod"/>
              <a:tabLst>
                <a:tab pos="974189" algn="l"/>
              </a:tabLst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+mj-lt"/>
                <a:ea typeface="+mn-ea"/>
                <a:cs typeface="AdihausDIN" panose="020B0504020101020102" pitchFamily="34" charset="0"/>
              </a:defRPr>
            </a:lvl6pPr>
            <a:lvl7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adineue PRO T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8pPr>
            <a:lvl9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9pPr>
          </a:lstStyle>
          <a:p>
            <a:pPr defTabSz="919133">
              <a:lnSpc>
                <a:spcPct val="170000"/>
              </a:lnSpc>
              <a:defRPr/>
            </a:pPr>
            <a:r>
              <a:rPr lang="es-ES" sz="2000" dirty="0">
                <a:solidFill>
                  <a:prstClr val="white"/>
                </a:solidFill>
                <a:latin typeface="adineue PRO Black"/>
              </a:rPr>
              <a:t>VIRTUAL REALITY</a:t>
            </a:r>
            <a:endParaRPr lang="en-US" sz="2000" dirty="0">
              <a:solidFill>
                <a:prstClr val="white"/>
              </a:solidFill>
              <a:latin typeface="adineue PRO Black"/>
            </a:endParaRP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6F42384C-8BCD-45C1-BBF2-FDCE65DBFAF2}"/>
              </a:ext>
            </a:extLst>
          </p:cNvPr>
          <p:cNvSpPr>
            <a:spLocks noGrp="1"/>
          </p:cNvSpPr>
          <p:nvPr/>
        </p:nvSpPr>
        <p:spPr bwMode="gray">
          <a:xfrm>
            <a:off x="5908431" y="1124244"/>
            <a:ext cx="2730744" cy="5761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itchFamily="34" charset="0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77841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78448" indent="-17844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+mj-lt"/>
              <a:buAutoNum type="arabicPeriod"/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253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55682" indent="-17784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591"/>
              </a:spcAft>
              <a:buSzPct val="90000"/>
              <a:buFont typeface="adineue PRO" pitchFamily="34" charset="0"/>
              <a:buAutoNum type="arabicPeriod"/>
              <a:tabLst>
                <a:tab pos="974189" algn="l"/>
              </a:tabLst>
              <a:defRPr sz="1200" kern="1200">
                <a:solidFill>
                  <a:schemeClr val="bg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+mj-lt"/>
                <a:ea typeface="+mn-ea"/>
                <a:cs typeface="AdihausDIN" panose="020B0504020101020102" pitchFamily="34" charset="0"/>
              </a:defRPr>
            </a:lvl6pPr>
            <a:lvl7pPr marL="0" indent="0" algn="l" defTabSz="90654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591"/>
              </a:spcAft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3600" b="0" i="0" kern="1200" cap="all" baseline="0">
                <a:solidFill>
                  <a:schemeClr val="bg2"/>
                </a:solidFill>
                <a:latin typeface="adineue PRO T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8pPr>
            <a:lvl9pPr marL="0" indent="0" algn="l" defTabSz="906548" rtl="0" eaLnBrk="1" latinLnBrk="0" hangingPunct="1">
              <a:lnSpc>
                <a:spcPct val="90000"/>
              </a:lnSpc>
              <a:spcBef>
                <a:spcPts val="596"/>
              </a:spcBef>
              <a:buClrTx/>
              <a:buSzPct val="90000"/>
              <a:buFont typeface="Wingdings" pitchFamily="2" charset="2"/>
              <a:buNone/>
              <a:tabLst>
                <a:tab pos="974226" algn="l"/>
              </a:tabLst>
              <a:defRPr sz="1400" b="1" kern="1200">
                <a:solidFill>
                  <a:schemeClr val="tx1"/>
                </a:solidFill>
                <a:latin typeface="AdihausDIN"/>
                <a:ea typeface="+mn-ea"/>
                <a:cs typeface="AdihausDIN"/>
              </a:defRPr>
            </a:lvl9pPr>
          </a:lstStyle>
          <a:p>
            <a:pPr defTabSz="919133">
              <a:lnSpc>
                <a:spcPct val="170000"/>
              </a:lnSpc>
              <a:defRPr/>
            </a:pPr>
            <a:r>
              <a:rPr lang="es-ES" sz="2000" dirty="0">
                <a:solidFill>
                  <a:prstClr val="white"/>
                </a:solidFill>
                <a:latin typeface="adineue PRO Black"/>
              </a:rPr>
              <a:t>AUGMENTED REALITY</a:t>
            </a:r>
            <a:endParaRPr lang="en-US" sz="2000" dirty="0">
              <a:solidFill>
                <a:prstClr val="white"/>
              </a:solidFill>
              <a:latin typeface="adineue PRO Black"/>
            </a:endParaRPr>
          </a:p>
        </p:txBody>
      </p:sp>
    </p:spTree>
    <p:extLst>
      <p:ext uri="{BB962C8B-B14F-4D97-AF65-F5344CB8AC3E}">
        <p14:creationId xmlns:p14="http://schemas.microsoft.com/office/powerpoint/2010/main" val="355093585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número de diapositiva 1">
            <a:extLst>
              <a:ext uri="{FF2B5EF4-FFF2-40B4-BE49-F238E27FC236}">
                <a16:creationId xmlns:a16="http://schemas.microsoft.com/office/drawing/2014/main" id="{6455046D-EADE-D040-BE86-C5E5B73049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Marcador de posición de texto 3">
            <a:extLst>
              <a:ext uri="{FF2B5EF4-FFF2-40B4-BE49-F238E27FC236}">
                <a16:creationId xmlns:a16="http://schemas.microsoft.com/office/drawing/2014/main" id="{FACEC49E-5DF3-AE48-B608-7AF0FF4B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 err="1"/>
              <a:t>Creating</a:t>
            </a:r>
            <a:r>
              <a:rPr lang="es-ES" dirty="0"/>
              <a:t> new </a:t>
            </a:r>
            <a:r>
              <a:rPr lang="es-ES" dirty="0" err="1"/>
              <a:t>project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Scratch</a:t>
            </a:r>
          </a:p>
        </p:txBody>
      </p:sp>
    </p:spTree>
    <p:extLst>
      <p:ext uri="{BB962C8B-B14F-4D97-AF65-F5344CB8AC3E}">
        <p14:creationId xmlns:p14="http://schemas.microsoft.com/office/powerpoint/2010/main" val="368982039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número de diapositiva 1">
            <a:extLst>
              <a:ext uri="{FF2B5EF4-FFF2-40B4-BE49-F238E27FC236}">
                <a16:creationId xmlns:a16="http://schemas.microsoft.com/office/drawing/2014/main" id="{6455046D-EADE-D040-BE86-C5E5B73049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62E4278D-0B7E-2543-B477-9996DF6CD6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2</a:t>
            </a:r>
          </a:p>
        </p:txBody>
      </p:sp>
      <p:sp>
        <p:nvSpPr>
          <p:cNvPr id="4" name="Marcador de posición de texto 3">
            <a:extLst>
              <a:ext uri="{FF2B5EF4-FFF2-40B4-BE49-F238E27FC236}">
                <a16:creationId xmlns:a16="http://schemas.microsoft.com/office/drawing/2014/main" id="{FACEC49E-5DF3-AE48-B608-7AF0FF4B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Virtual </a:t>
            </a:r>
            <a:r>
              <a:rPr lang="es-ES" dirty="0" err="1"/>
              <a:t>Reality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061221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imagen 1">
            <a:extLst>
              <a:ext uri="{FF2B5EF4-FFF2-40B4-BE49-F238E27FC236}">
                <a16:creationId xmlns:a16="http://schemas.microsoft.com/office/drawing/2014/main" id="{FAC1BE90-E88B-2A41-851B-ACA9EF592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accent5"/>
          </a:solidFill>
        </p:spPr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4559489B-C838-2F44-A136-072948537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200" dirty="0"/>
              <a:t>Virtual </a:t>
            </a:r>
            <a:r>
              <a:rPr lang="es-ES" sz="3200" dirty="0" err="1"/>
              <a:t>reality</a:t>
            </a:r>
            <a:endParaRPr lang="es-ES" sz="3200" dirty="0"/>
          </a:p>
        </p:txBody>
      </p:sp>
      <p:sp>
        <p:nvSpPr>
          <p:cNvPr id="5" name="Marcador de posición de texto 4">
            <a:extLst>
              <a:ext uri="{FF2B5EF4-FFF2-40B4-BE49-F238E27FC236}">
                <a16:creationId xmlns:a16="http://schemas.microsoft.com/office/drawing/2014/main" id="{9DB2971E-5643-0B42-B98E-782ABBB28C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s-ES" sz="2000" dirty="0"/>
              <a:t>Virtual </a:t>
            </a:r>
            <a:r>
              <a:rPr lang="es-ES" sz="2000" dirty="0" err="1"/>
              <a:t>World</a:t>
            </a:r>
            <a:endParaRPr lang="es-ES" sz="2000" dirty="0"/>
          </a:p>
          <a:p>
            <a:pPr>
              <a:lnSpc>
                <a:spcPct val="150000"/>
              </a:lnSpc>
            </a:pPr>
            <a:r>
              <a:rPr lang="es-ES" sz="2000" dirty="0" err="1"/>
              <a:t>Immersion</a:t>
            </a:r>
            <a:endParaRPr lang="es-ES" sz="2000" dirty="0"/>
          </a:p>
          <a:p>
            <a:pPr>
              <a:lnSpc>
                <a:spcPct val="150000"/>
              </a:lnSpc>
            </a:pPr>
            <a:r>
              <a:rPr lang="es-ES" sz="2000" dirty="0"/>
              <a:t>Sensor </a:t>
            </a:r>
            <a:r>
              <a:rPr lang="es-ES" sz="2000" dirty="0" err="1"/>
              <a:t>Feedback</a:t>
            </a:r>
            <a:endParaRPr lang="es-ES" sz="2000" dirty="0"/>
          </a:p>
          <a:p>
            <a:pPr>
              <a:lnSpc>
                <a:spcPct val="150000"/>
              </a:lnSpc>
            </a:pPr>
            <a:r>
              <a:rPr lang="es-ES" sz="2000" dirty="0" err="1"/>
              <a:t>Interactivity</a:t>
            </a:r>
            <a:endParaRPr lang="es-ES" sz="200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F1FFF3AD-9AB0-4445-9A76-FFF75C3D72B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t="2412" b="24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3769502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D92DF3D-A4F8-7041-9433-9AFB8071FDD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492791" cy="5344997"/>
          </a:xfrm>
          <a:ln>
            <a:noFill/>
          </a:ln>
        </p:spPr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0E8EFD-7BEE-6045-A27D-C800BA5A9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TRACKING</a:t>
            </a: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895D28-6E99-2A43-8229-65C9D7CCFD03}"/>
              </a:ext>
            </a:extLst>
          </p:cNvPr>
          <p:cNvGrpSpPr/>
          <p:nvPr/>
        </p:nvGrpSpPr>
        <p:grpSpPr>
          <a:xfrm>
            <a:off x="1545030" y="576262"/>
            <a:ext cx="5441642" cy="4463548"/>
            <a:chOff x="2437084" y="1090640"/>
            <a:chExt cx="4335818" cy="3556487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73AE9DA5-8BD9-224D-BB52-A5DBB98F9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37084" y="1561470"/>
              <a:ext cx="4335818" cy="3085657"/>
            </a:xfrm>
            <a:prstGeom prst="rect">
              <a:avLst/>
            </a:prstGeom>
          </p:spPr>
        </p:pic>
        <p:cxnSp>
          <p:nvCxnSpPr>
            <p:cNvPr id="7" name="Conector recto de flecha 6">
              <a:extLst>
                <a:ext uri="{FF2B5EF4-FFF2-40B4-BE49-F238E27FC236}">
                  <a16:creationId xmlns:a16="http://schemas.microsoft.com/office/drawing/2014/main" id="{55638DE8-3958-7644-BA5E-27CAA52AD9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45378" y="1090640"/>
              <a:ext cx="0" cy="696788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9" name="Conector recto 8">
              <a:extLst>
                <a:ext uri="{FF2B5EF4-FFF2-40B4-BE49-F238E27FC236}">
                  <a16:creationId xmlns:a16="http://schemas.microsoft.com/office/drawing/2014/main" id="{49B113FC-68E8-314C-B781-A7D7C9086821}"/>
                </a:ext>
              </a:extLst>
            </p:cNvPr>
            <p:cNvCxnSpPr>
              <a:cxnSpLocks/>
            </p:cNvCxnSpPr>
            <p:nvPr/>
          </p:nvCxnSpPr>
          <p:spPr>
            <a:xfrm>
              <a:off x="4845378" y="3469063"/>
              <a:ext cx="0" cy="970961"/>
            </a:xfrm>
            <a:prstGeom prst="line">
              <a:avLst/>
            </a:prstGeom>
            <a:ln w="38100">
              <a:prstDash val="sysDot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2" name="Conector recto de flecha 11">
              <a:extLst>
                <a:ext uri="{FF2B5EF4-FFF2-40B4-BE49-F238E27FC236}">
                  <a16:creationId xmlns:a16="http://schemas.microsoft.com/office/drawing/2014/main" id="{77B08F63-AC36-1446-BC68-F67BA22F61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95276" y="2360368"/>
              <a:ext cx="1035376" cy="20567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4" name="Conector recto 13">
              <a:extLst>
                <a:ext uri="{FF2B5EF4-FFF2-40B4-BE49-F238E27FC236}">
                  <a16:creationId xmlns:a16="http://schemas.microsoft.com/office/drawing/2014/main" id="{515BAD1F-D490-6847-B360-95CAA0730A6F}"/>
                </a:ext>
              </a:extLst>
            </p:cNvPr>
            <p:cNvCxnSpPr>
              <a:cxnSpLocks/>
            </p:cNvCxnSpPr>
            <p:nvPr/>
          </p:nvCxnSpPr>
          <p:spPr>
            <a:xfrm>
              <a:off x="3071569" y="2360368"/>
              <a:ext cx="425775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sysDot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7" name="Conector recto de flecha 16">
              <a:extLst>
                <a:ext uri="{FF2B5EF4-FFF2-40B4-BE49-F238E27FC236}">
                  <a16:creationId xmlns:a16="http://schemas.microsoft.com/office/drawing/2014/main" id="{110F7599-59C6-FB46-8B49-15A79AD424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93099" y="2426356"/>
              <a:ext cx="950535" cy="156588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9" name="Conector recto 18">
              <a:extLst>
                <a:ext uri="{FF2B5EF4-FFF2-40B4-BE49-F238E27FC236}">
                  <a16:creationId xmlns:a16="http://schemas.microsoft.com/office/drawing/2014/main" id="{A5AA5C16-BF13-8E48-9C2F-C49385FA5B6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5265" y="2008171"/>
              <a:ext cx="886108" cy="150188"/>
            </a:xfrm>
            <a:prstGeom prst="line">
              <a:avLst/>
            </a:prstGeom>
            <a:ln w="38100">
              <a:solidFill>
                <a:srgbClr val="00B0F0"/>
              </a:solidFill>
              <a:prstDash val="sysDot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Flecha circular 31">
              <a:extLst>
                <a:ext uri="{FF2B5EF4-FFF2-40B4-BE49-F238E27FC236}">
                  <a16:creationId xmlns:a16="http://schemas.microsoft.com/office/drawing/2014/main" id="{8939486B-8F38-4146-98DC-35B07DEEFA6F}"/>
                </a:ext>
              </a:extLst>
            </p:cNvPr>
            <p:cNvSpPr/>
            <p:nvPr/>
          </p:nvSpPr>
          <p:spPr bwMode="gray">
            <a:xfrm rot="6655049">
              <a:off x="3585317" y="2361702"/>
              <a:ext cx="322399" cy="294794"/>
            </a:xfrm>
            <a:prstGeom prst="circularArrow">
              <a:avLst>
                <a:gd name="adj1" fmla="val 5445"/>
                <a:gd name="adj2" fmla="val 1142319"/>
                <a:gd name="adj3" fmla="val 19564913"/>
                <a:gd name="adj4" fmla="val 5279445"/>
                <a:gd name="adj5" fmla="val 9721"/>
              </a:avLst>
            </a:prstGeom>
            <a:solidFill>
              <a:srgbClr val="00B0F0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s-ES" sz="1200" b="1" dirty="0">
                <a:solidFill>
                  <a:schemeClr val="bg1"/>
                </a:solidFill>
                <a:cs typeface="AdihausDIN Cn" panose="020B0506020101010102" pitchFamily="34" charset="0"/>
              </a:endParaRPr>
            </a:p>
          </p:txBody>
        </p:sp>
        <p:sp>
          <p:nvSpPr>
            <p:cNvPr id="33" name="Flecha circular 32">
              <a:extLst>
                <a:ext uri="{FF2B5EF4-FFF2-40B4-BE49-F238E27FC236}">
                  <a16:creationId xmlns:a16="http://schemas.microsoft.com/office/drawing/2014/main" id="{55358739-2909-834D-AF8D-FD0DA664AF60}"/>
                </a:ext>
              </a:extLst>
            </p:cNvPr>
            <p:cNvSpPr/>
            <p:nvPr/>
          </p:nvSpPr>
          <p:spPr bwMode="gray">
            <a:xfrm rot="6655049">
              <a:off x="5820827" y="2175797"/>
              <a:ext cx="359179" cy="352819"/>
            </a:xfrm>
            <a:prstGeom prst="circularArrow">
              <a:avLst>
                <a:gd name="adj1" fmla="val 5445"/>
                <a:gd name="adj2" fmla="val 1142319"/>
                <a:gd name="adj3" fmla="val 19564913"/>
                <a:gd name="adj4" fmla="val 5279445"/>
                <a:gd name="adj5" fmla="val 9721"/>
              </a:avLst>
            </a:prstGeom>
            <a:solidFill>
              <a:srgbClr val="C00000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s-ES" sz="1200" b="1" dirty="0">
                <a:solidFill>
                  <a:schemeClr val="bg1"/>
                </a:solidFill>
                <a:cs typeface="AdihausDIN Cn" panose="020B0506020101010102" pitchFamily="34" charset="0"/>
              </a:endParaRPr>
            </a:p>
          </p:txBody>
        </p:sp>
        <p:sp>
          <p:nvSpPr>
            <p:cNvPr id="34" name="Flecha circular 33">
              <a:extLst>
                <a:ext uri="{FF2B5EF4-FFF2-40B4-BE49-F238E27FC236}">
                  <a16:creationId xmlns:a16="http://schemas.microsoft.com/office/drawing/2014/main" id="{4B09A590-A6B8-564B-9FA4-148FC87FA7CC}"/>
                </a:ext>
              </a:extLst>
            </p:cNvPr>
            <p:cNvSpPr/>
            <p:nvPr/>
          </p:nvSpPr>
          <p:spPr bwMode="gray">
            <a:xfrm rot="5400000">
              <a:off x="4762656" y="1477344"/>
              <a:ext cx="165443" cy="333693"/>
            </a:xfrm>
            <a:prstGeom prst="circularArrow">
              <a:avLst>
                <a:gd name="adj1" fmla="val 6294"/>
                <a:gd name="adj2" fmla="val 1415265"/>
                <a:gd name="adj3" fmla="val 17535723"/>
                <a:gd name="adj4" fmla="val 4254286"/>
                <a:gd name="adj5" fmla="val 9721"/>
              </a:avLst>
            </a:prstGeom>
            <a:solidFill>
              <a:schemeClr val="accent3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s-ES" sz="1200" b="1" dirty="0">
                <a:solidFill>
                  <a:schemeClr val="bg1"/>
                </a:solidFill>
                <a:cs typeface="AdihausDIN Cn" panose="020B0506020101010102" pitchFamily="34" charset="0"/>
              </a:endParaRPr>
            </a:p>
          </p:txBody>
        </p:sp>
        <p:sp>
          <p:nvSpPr>
            <p:cNvPr id="35" name="Title 2">
              <a:extLst>
                <a:ext uri="{FF2B5EF4-FFF2-40B4-BE49-F238E27FC236}">
                  <a16:creationId xmlns:a16="http://schemas.microsoft.com/office/drawing/2014/main" id="{817989D1-4869-B146-AF6D-E9DFE382E8B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176419" y="2675963"/>
              <a:ext cx="570097" cy="42227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ctr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sz="1400" b="0" i="0" kern="1200" cap="all">
                  <a:solidFill>
                    <a:schemeClr val="bg1"/>
                  </a:solidFill>
                  <a:latin typeface="adineue TEXT Black" panose="020B0A03020201060004" pitchFamily="34" charset="0"/>
                  <a:ea typeface="+mj-ea"/>
                  <a:cs typeface="+mj-cs"/>
                </a:defRPr>
              </a:lvl1pPr>
              <a:lvl2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2pPr>
              <a:lvl3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3pPr>
              <a:lvl4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4pPr>
              <a:lvl5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5pPr>
              <a:lvl6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6pPr>
              <a:lvl7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7pPr>
              <a:lvl8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8pPr>
              <a:lvl9pPr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9pPr>
            </a:lstStyle>
            <a:p>
              <a:pPr defTabSz="914400"/>
              <a:r>
                <a:rPr lang="en-US" dirty="0">
                  <a:solidFill>
                    <a:srgbClr val="00B0F0"/>
                  </a:solidFill>
                </a:rPr>
                <a:t>Z</a:t>
              </a:r>
            </a:p>
          </p:txBody>
        </p:sp>
        <p:sp>
          <p:nvSpPr>
            <p:cNvPr id="36" name="Title 2">
              <a:extLst>
                <a:ext uri="{FF2B5EF4-FFF2-40B4-BE49-F238E27FC236}">
                  <a16:creationId xmlns:a16="http://schemas.microsoft.com/office/drawing/2014/main" id="{ECE95B23-BC2C-2A4D-B6D1-94C3C353AA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89549" y="2159513"/>
              <a:ext cx="570097" cy="42227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ctr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sz="1400" b="0" i="0" kern="1200" cap="all">
                  <a:solidFill>
                    <a:schemeClr val="bg1"/>
                  </a:solidFill>
                  <a:latin typeface="adineue TEXT Black" panose="020B0A03020201060004" pitchFamily="34" charset="0"/>
                  <a:ea typeface="+mj-ea"/>
                  <a:cs typeface="+mj-cs"/>
                </a:defRPr>
              </a:lvl1pPr>
              <a:lvl2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2pPr>
              <a:lvl3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3pPr>
              <a:lvl4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4pPr>
              <a:lvl5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5pPr>
              <a:lvl6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6pPr>
              <a:lvl7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7pPr>
              <a:lvl8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8pPr>
              <a:lvl9pPr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9pPr>
            </a:lstStyle>
            <a:p>
              <a:pPr defTabSz="914400"/>
              <a:r>
                <a:rPr lang="en-US" dirty="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37" name="Title 2">
              <a:extLst>
                <a:ext uri="{FF2B5EF4-FFF2-40B4-BE49-F238E27FC236}">
                  <a16:creationId xmlns:a16="http://schemas.microsoft.com/office/drawing/2014/main" id="{2926FAD8-3891-654F-B5E8-1CFF110C8A5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8413" y="1139195"/>
              <a:ext cx="285050" cy="42227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ctr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sz="1400" b="0" i="0" kern="1200" cap="all">
                  <a:solidFill>
                    <a:schemeClr val="bg1"/>
                  </a:solidFill>
                  <a:latin typeface="adineue TEXT Black" panose="020B0A03020201060004" pitchFamily="34" charset="0"/>
                  <a:ea typeface="+mj-ea"/>
                  <a:cs typeface="+mj-cs"/>
                </a:defRPr>
              </a:lvl1pPr>
              <a:lvl2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2pPr>
              <a:lvl3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3pPr>
              <a:lvl4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4pPr>
              <a:lvl5pPr algn="l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 kern="1200" cap="all">
                  <a:solidFill>
                    <a:schemeClr val="tx1"/>
                  </a:solidFill>
                  <a:latin typeface="adineue PRO Light" pitchFamily="34" charset="0"/>
                </a:defRPr>
              </a:lvl5pPr>
              <a:lvl6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6pPr>
              <a:lvl7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7pPr>
              <a:lvl8pPr algn="l" rtl="0"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8pPr>
              <a:lvl9pPr eaLnBrk="1" hangingPunct="1">
                <a:lnSpc>
                  <a:spcPct val="80000"/>
                </a:lnSpc>
                <a:defRPr kern="1200" cap="all" baseline="0">
                  <a:latin typeface="+mj-lt"/>
                </a:defRPr>
              </a:lvl9pPr>
            </a:lstStyle>
            <a:p>
              <a:pPr defTabSz="914400"/>
              <a:r>
                <a:rPr lang="en-US" dirty="0">
                  <a:solidFill>
                    <a:schemeClr val="accent3"/>
                  </a:solidFill>
                </a:rPr>
                <a:t>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2392333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E088487C-0FFC-7A48-BC61-42F4A493B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GOOGLE VR - </a:t>
            </a:r>
            <a:r>
              <a:rPr lang="es-ES" dirty="0" err="1"/>
              <a:t>platforms</a:t>
            </a:r>
            <a:endParaRPr lang="es-ES" dirty="0"/>
          </a:p>
        </p:txBody>
      </p:sp>
      <p:sp>
        <p:nvSpPr>
          <p:cNvPr id="7" name="Marcador de posición de texto 6">
            <a:extLst>
              <a:ext uri="{FF2B5EF4-FFF2-40B4-BE49-F238E27FC236}">
                <a16:creationId xmlns:a16="http://schemas.microsoft.com/office/drawing/2014/main" id="{E862E586-1621-0E46-96E6-8603260339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s-ES" dirty="0"/>
              <a:t>Android</a:t>
            </a:r>
          </a:p>
        </p:txBody>
      </p:sp>
      <p:sp>
        <p:nvSpPr>
          <p:cNvPr id="8" name="Marcador de posición de texto 7">
            <a:extLst>
              <a:ext uri="{FF2B5EF4-FFF2-40B4-BE49-F238E27FC236}">
                <a16:creationId xmlns:a16="http://schemas.microsoft.com/office/drawing/2014/main" id="{1222840C-9098-CC4C-9A7E-5516915459F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s-ES" dirty="0" err="1"/>
              <a:t>Unity</a:t>
            </a:r>
            <a:endParaRPr lang="es-ES" dirty="0"/>
          </a:p>
        </p:txBody>
      </p:sp>
      <p:sp>
        <p:nvSpPr>
          <p:cNvPr id="9" name="Marcador de posición de texto 8">
            <a:extLst>
              <a:ext uri="{FF2B5EF4-FFF2-40B4-BE49-F238E27FC236}">
                <a16:creationId xmlns:a16="http://schemas.microsoft.com/office/drawing/2014/main" id="{D1D9B93E-24DF-714B-810F-C947239CAF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s-ES" dirty="0" err="1"/>
              <a:t>Unreal</a:t>
            </a:r>
            <a:endParaRPr lang="es-ES" dirty="0"/>
          </a:p>
        </p:txBody>
      </p:sp>
      <p:sp>
        <p:nvSpPr>
          <p:cNvPr id="10" name="Marcador de posición de texto 9">
            <a:extLst>
              <a:ext uri="{FF2B5EF4-FFF2-40B4-BE49-F238E27FC236}">
                <a16:creationId xmlns:a16="http://schemas.microsoft.com/office/drawing/2014/main" id="{F3C89AC5-D049-154C-A53D-2E1958F9E8E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35713" y="4032250"/>
            <a:ext cx="1728786" cy="576263"/>
          </a:xfrm>
        </p:spPr>
        <p:txBody>
          <a:bodyPr/>
          <a:lstStyle/>
          <a:p>
            <a:r>
              <a:rPr lang="es-ES" cap="none" dirty="0"/>
              <a:t>iOS</a:t>
            </a:r>
          </a:p>
        </p:txBody>
      </p:sp>
      <p:sp>
        <p:nvSpPr>
          <p:cNvPr id="11" name="Marcador de posición de número de diapositiva 10">
            <a:extLst>
              <a:ext uri="{FF2B5EF4-FFF2-40B4-BE49-F238E27FC236}">
                <a16:creationId xmlns:a16="http://schemas.microsoft.com/office/drawing/2014/main" id="{927F4141-1637-2747-BEEA-D73C5F2ACA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8" name="Marcador de posición de imagen 17">
            <a:extLst>
              <a:ext uri="{FF2B5EF4-FFF2-40B4-BE49-F238E27FC236}">
                <a16:creationId xmlns:a16="http://schemas.microsoft.com/office/drawing/2014/main" id="{32CB9DD2-57F1-2948-8AAE-0DA29429792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18211" r="18211"/>
          <a:stretch>
            <a:fillRect/>
          </a:stretch>
        </p:blipFill>
        <p:spPr/>
      </p:pic>
      <p:pic>
        <p:nvPicPr>
          <p:cNvPr id="23" name="Marcador de posición de imagen 22">
            <a:extLst>
              <a:ext uri="{FF2B5EF4-FFF2-40B4-BE49-F238E27FC236}">
                <a16:creationId xmlns:a16="http://schemas.microsoft.com/office/drawing/2014/main" id="{258B916B-E30A-5A4A-ABBB-92EE730C4EBE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/>
          <a:srcRect l="18161" r="18161"/>
          <a:stretch>
            <a:fillRect/>
          </a:stretch>
        </p:blipFill>
        <p:spPr/>
      </p:pic>
      <p:pic>
        <p:nvPicPr>
          <p:cNvPr id="29" name="Marcador de posición de imagen 28">
            <a:extLst>
              <a:ext uri="{FF2B5EF4-FFF2-40B4-BE49-F238E27FC236}">
                <a16:creationId xmlns:a16="http://schemas.microsoft.com/office/drawing/2014/main" id="{2D178294-5D6F-FC4F-A522-71FDA7ABD91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1196" l="18696" r="81196">
                        <a14:foregroundMark x1="63370" y1="13370" x2="63370" y2="13370"/>
                        <a14:foregroundMark x1="19130" y1="24783" x2="19130" y2="24783"/>
                        <a14:foregroundMark x1="77500" y1="23043" x2="77500" y2="23043"/>
                        <a14:foregroundMark x1="61087" y1="11957" x2="61087" y2="11957"/>
                        <a14:foregroundMark x1="61739" y1="10978" x2="61739" y2="10978"/>
                        <a14:foregroundMark x1="55326" y1="11304" x2="55326" y2="11304"/>
                        <a14:foregroundMark x1="55326" y1="11304" x2="55326" y2="11304"/>
                        <a14:foregroundMark x1="31848" y1="48261" x2="34891" y2="62283"/>
                        <a14:foregroundMark x1="57391" y1="10978" x2="67065" y2="13043"/>
                        <a14:foregroundMark x1="18804" y1="24130" x2="31957" y2="15217"/>
                        <a14:foregroundMark x1="31957" y1="15217" x2="55978" y2="10652"/>
                        <a14:foregroundMark x1="79457" y1="25109" x2="79457" y2="25109"/>
                        <a14:foregroundMark x1="65435" y1="12717" x2="79457" y2="24130"/>
                        <a14:foregroundMark x1="33913" y1="73696" x2="38587" y2="38478"/>
                        <a14:foregroundMark x1="77174" y1="62717" x2="78152" y2="61957"/>
                        <a14:foregroundMark x1="42935" y1="73043" x2="58043" y2="69022"/>
                        <a14:foregroundMark x1="62717" y1="69674" x2="62391" y2="36848"/>
                        <a14:foregroundMark x1="59348" y1="89891" x2="69130" y2="86196"/>
                        <a14:foregroundMark x1="46304" y1="90543" x2="53370" y2="91196"/>
                        <a14:foregroundMark x1="79457" y1="75761" x2="81196" y2="73043"/>
                      </a14:backgroundRemoval>
                    </a14:imgEffect>
                  </a14:imgLayer>
                </a14:imgProps>
              </a:ext>
            </a:extLst>
          </a:blip>
          <a:srcRect l="18186" r="18186"/>
          <a:stretch>
            <a:fillRect/>
          </a:stretch>
        </p:blipFill>
        <p:spPr/>
      </p:pic>
      <p:pic>
        <p:nvPicPr>
          <p:cNvPr id="32" name="Marcador de posición de imagen 31">
            <a:extLst>
              <a:ext uri="{FF2B5EF4-FFF2-40B4-BE49-F238E27FC236}">
                <a16:creationId xmlns:a16="http://schemas.microsoft.com/office/drawing/2014/main" id="{98B412C0-D305-E74F-8754-F947D0544A2C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6"/>
          <a:srcRect l="18186" r="1818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11820196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10232017_DBC Template" id="{306B7B08-CDD3-4324-944F-932DD75F871E}" vid="{D4AE2986-1712-485F-9277-6562650A4058}"/>
    </a:ext>
  </a:extLst>
</a:theme>
</file>

<file path=ppt/theme/theme2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an2018_PowerPoint template</Template>
  <TotalTime>51</TotalTime>
  <Words>418</Words>
  <Application>Microsoft Macintosh PowerPoint</Application>
  <PresentationFormat>Custom</PresentationFormat>
  <Paragraphs>122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dihausDIN</vt:lpstr>
      <vt:lpstr>AdihausDIN Cn</vt:lpstr>
      <vt:lpstr>adineue PRO</vt:lpstr>
      <vt:lpstr>adineue PRO Black</vt:lpstr>
      <vt:lpstr>adineue PRO Light</vt:lpstr>
      <vt:lpstr>adineue PRO TT Black</vt:lpstr>
      <vt:lpstr>adineue TEXT Black</vt:lpstr>
      <vt:lpstr>adineue TEXT Light</vt:lpstr>
      <vt:lpstr>adiText Light Beta</vt:lpstr>
      <vt:lpstr>Arial</vt:lpstr>
      <vt:lpstr>Wingdings</vt:lpstr>
      <vt:lpstr>GLOBAL TEMPLATE 2017 (TEAL)</vt:lpstr>
      <vt:lpstr>think-cell Slide</vt:lpstr>
      <vt:lpstr>VIRTUAL REALITY  AUGMENTED REALITY</vt:lpstr>
      <vt:lpstr>PowerPoint Presentation</vt:lpstr>
      <vt:lpstr>PowerPoint Presentation</vt:lpstr>
      <vt:lpstr>EXAMPLES</vt:lpstr>
      <vt:lpstr>PowerPoint Presentation</vt:lpstr>
      <vt:lpstr>PowerPoint Presentation</vt:lpstr>
      <vt:lpstr>Virtual reality</vt:lpstr>
      <vt:lpstr>HEAD TRACKING</vt:lpstr>
      <vt:lpstr>GOOGLE VR - platforms</vt:lpstr>
      <vt:lpstr>REQUIREMENTS</vt:lpstr>
      <vt:lpstr>Demo google vr</vt:lpstr>
      <vt:lpstr>PowerPoint Presentation</vt:lpstr>
      <vt:lpstr>LAYERS</vt:lpstr>
      <vt:lpstr>TRACKING</vt:lpstr>
      <vt:lpstr>SCENE UNDERSTANDING</vt:lpstr>
      <vt:lpstr>RENDERING</vt:lpstr>
      <vt:lpstr>REQUIREMENTS</vt:lpstr>
      <vt:lpstr>REQUIREMENTS</vt:lpstr>
      <vt:lpstr>Demo AR UNITY ANDROID</vt:lpstr>
      <vt:lpstr>Demo AR IOS</vt:lpstr>
      <vt:lpstr>RESOURCES</vt:lpstr>
      <vt:lpstr>PowerPoint Presentation</vt:lpstr>
    </vt:vector>
  </TitlesOfParts>
  <Company/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Vatthauer, Lea</dc:creator>
  <cp:lastModifiedBy>Marcen, Rafael</cp:lastModifiedBy>
  <cp:revision>82</cp:revision>
  <cp:lastPrinted>2015-05-04T06:43:15Z</cp:lastPrinted>
  <dcterms:created xsi:type="dcterms:W3CDTF">2018-01-19T10:03:04Z</dcterms:created>
  <dcterms:modified xsi:type="dcterms:W3CDTF">2018-04-13T20:56:33Z</dcterms:modified>
  <dc:language>English-UK</dc:language>
</cp:coreProperties>
</file>